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</p:sldMasterIdLst>
  <p:notesMasterIdLst>
    <p:notesMasterId r:id="rId37"/>
  </p:notesMasterIdLst>
  <p:sldIdLst>
    <p:sldId id="256" r:id="rId2"/>
    <p:sldId id="257" r:id="rId3"/>
    <p:sldId id="378" r:id="rId4"/>
    <p:sldId id="376" r:id="rId5"/>
    <p:sldId id="375" r:id="rId6"/>
    <p:sldId id="374" r:id="rId7"/>
    <p:sldId id="303" r:id="rId8"/>
    <p:sldId id="372" r:id="rId9"/>
    <p:sldId id="291" r:id="rId10"/>
    <p:sldId id="379" r:id="rId11"/>
    <p:sldId id="380" r:id="rId12"/>
    <p:sldId id="381" r:id="rId13"/>
    <p:sldId id="382" r:id="rId14"/>
    <p:sldId id="311" r:id="rId15"/>
    <p:sldId id="283" r:id="rId16"/>
    <p:sldId id="343" r:id="rId17"/>
    <p:sldId id="345" r:id="rId18"/>
    <p:sldId id="340" r:id="rId19"/>
    <p:sldId id="362" r:id="rId20"/>
    <p:sldId id="342" r:id="rId21"/>
    <p:sldId id="363" r:id="rId22"/>
    <p:sldId id="349" r:id="rId23"/>
    <p:sldId id="350" r:id="rId24"/>
    <p:sldId id="351" r:id="rId25"/>
    <p:sldId id="377" r:id="rId26"/>
    <p:sldId id="354" r:id="rId27"/>
    <p:sldId id="355" r:id="rId28"/>
    <p:sldId id="383" r:id="rId29"/>
    <p:sldId id="384" r:id="rId30"/>
    <p:sldId id="358" r:id="rId31"/>
    <p:sldId id="359" r:id="rId32"/>
    <p:sldId id="360" r:id="rId33"/>
    <p:sldId id="385" r:id="rId34"/>
    <p:sldId id="386" r:id="rId35"/>
    <p:sldId id="282" r:id="rId3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" initials="A" lastIdx="1" clrIdx="0">
    <p:extLst>
      <p:ext uri="{19B8F6BF-5375-455C-9EA6-DF929625EA0E}">
        <p15:presenceInfo xmlns:p15="http://schemas.microsoft.com/office/powerpoint/2012/main" userId="Ad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B7E1"/>
    <a:srgbClr val="33CCFF"/>
    <a:srgbClr val="FFE1B4"/>
    <a:srgbClr val="5B9BD5"/>
    <a:srgbClr val="D2D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Темный стиль 1 —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9" autoAdjust="0"/>
    <p:restoredTop sz="96296"/>
  </p:normalViewPr>
  <p:slideViewPr>
    <p:cSldViewPr snapToGrid="0">
      <p:cViewPr varScale="1">
        <p:scale>
          <a:sx n="106" d="100"/>
          <a:sy n="106" d="100"/>
        </p:scale>
        <p:origin x="102" y="22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6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7F4-44F4-AAB5-1DFB73C4448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7F4-44F4-AAB5-1DFB73C4448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7F4-44F4-AAB5-1DFB73C444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Выхино-Жулебино</c:v>
                </c:pt>
                <c:pt idx="1">
                  <c:v>Рязанский</c:v>
                </c:pt>
                <c:pt idx="2">
                  <c:v>Некрасовк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48268</c:v>
                </c:pt>
                <c:pt idx="1">
                  <c:v>28576</c:v>
                </c:pt>
                <c:pt idx="2">
                  <c:v>1225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7F4-44F4-AAB5-1DFB73C44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400" b="1" i="0" u="none" strike="noStrike" baseline="0" dirty="0">
                <a:effectLst/>
              </a:rPr>
              <a:t>Льготные категории граждан</a:t>
            </a:r>
            <a:endParaRPr lang="ru-RU" sz="2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2304250559284116E-2"/>
          <c:y val="0.16801854301816022"/>
          <c:w val="0.97539149888143173"/>
          <c:h val="0.70275804939604114"/>
        </c:manualLayout>
      </c:layout>
      <c:bar3D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деральные льготники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324</c:v>
                </c:pt>
                <c:pt idx="1">
                  <c:v>1446</c:v>
                </c:pt>
                <c:pt idx="2">
                  <c:v>1732</c:v>
                </c:pt>
                <c:pt idx="3">
                  <c:v>1549</c:v>
                </c:pt>
                <c:pt idx="4">
                  <c:v>1351</c:v>
                </c:pt>
                <c:pt idx="5">
                  <c:v>2416</c:v>
                </c:pt>
                <c:pt idx="6">
                  <c:v>108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50-4750-9A41-372B4FA83A8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гиональные льготник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8419</c:v>
                </c:pt>
                <c:pt idx="1">
                  <c:v>5153</c:v>
                </c:pt>
                <c:pt idx="2">
                  <c:v>6317</c:v>
                </c:pt>
                <c:pt idx="3">
                  <c:v>6127</c:v>
                </c:pt>
                <c:pt idx="4">
                  <c:v>4455</c:v>
                </c:pt>
                <c:pt idx="5">
                  <c:v>15149</c:v>
                </c:pt>
                <c:pt idx="6">
                  <c:v>456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50-4750-9A41-372B4FA83A8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личество льготников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7810</c:v>
                </c:pt>
                <c:pt idx="1">
                  <c:v>4689</c:v>
                </c:pt>
                <c:pt idx="2">
                  <c:v>5636</c:v>
                </c:pt>
                <c:pt idx="3">
                  <c:v>5342</c:v>
                </c:pt>
                <c:pt idx="4">
                  <c:v>4234</c:v>
                </c:pt>
                <c:pt idx="5">
                  <c:v>14162</c:v>
                </c:pt>
                <c:pt idx="6">
                  <c:v>418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250-4750-9A41-372B4FA83A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519352304"/>
        <c:axId val="1519352848"/>
        <c:axId val="0"/>
      </c:bar3DChart>
      <c:catAx>
        <c:axId val="1519352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9352848"/>
        <c:crosses val="autoZero"/>
        <c:auto val="1"/>
        <c:lblAlgn val="ctr"/>
        <c:lblOffset val="100"/>
        <c:noMultiLvlLbl val="0"/>
      </c:catAx>
      <c:valAx>
        <c:axId val="151935284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519352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65-44C7-99F0-0AD89DC5571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65-44C7-99F0-0AD89DC55716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5">
                      <a:tint val="65000"/>
                      <a:lumMod val="110000"/>
                    </a:schemeClr>
                  </a:gs>
                  <a:gs pos="88000">
                    <a:schemeClr val="accent5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965-44C7-99F0-0AD89DC55716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tint val="65000"/>
                      <a:lumMod val="110000"/>
                    </a:schemeClr>
                  </a:gs>
                  <a:gs pos="88000">
                    <a:schemeClr val="accent1">
                      <a:lumMod val="60000"/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8D1-4FF0-B477-AB47D13FA83A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1 группа </c:v>
                </c:pt>
                <c:pt idx="1">
                  <c:v>2 группа </c:v>
                </c:pt>
                <c:pt idx="2">
                  <c:v>3 группа</c:v>
                </c:pt>
                <c:pt idx="3">
                  <c:v>Дети инвалиды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1308</c:v>
                </c:pt>
                <c:pt idx="1">
                  <c:v>3766</c:v>
                </c:pt>
                <c:pt idx="2">
                  <c:v>4002</c:v>
                </c:pt>
                <c:pt idx="3" formatCode="General">
                  <c:v>3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965-44C7-99F0-0AD89DC5571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3 г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Диспансеризация взрослого населения</c:v>
                </c:pt>
                <c:pt idx="1">
                  <c:v>Профилактические осмотры взрослого населения</c:v>
                </c:pt>
                <c:pt idx="2">
                  <c:v>Углубленная диспансеризация</c:v>
                </c:pt>
                <c:pt idx="3">
                  <c:v>Периодические и предварительные осмотры</c:v>
                </c:pt>
                <c:pt idx="4">
                  <c:v>Профилактические осмотры детского населения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21176</c:v>
                </c:pt>
                <c:pt idx="1">
                  <c:v>33440</c:v>
                </c:pt>
                <c:pt idx="2">
                  <c:v>11110</c:v>
                </c:pt>
                <c:pt idx="3">
                  <c:v>4563</c:v>
                </c:pt>
                <c:pt idx="4">
                  <c:v>213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27-43B1-BDF7-A087E3C6F14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 г.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Диспансеризация взрослого населения</c:v>
                </c:pt>
                <c:pt idx="1">
                  <c:v>Профилактические осмотры взрослого населения</c:v>
                </c:pt>
                <c:pt idx="2">
                  <c:v>Углубленная диспансеризация</c:v>
                </c:pt>
                <c:pt idx="3">
                  <c:v>Периодические и предварительные осмотры</c:v>
                </c:pt>
                <c:pt idx="4">
                  <c:v>Профилактические осмотры детского населения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7410</c:v>
                </c:pt>
                <c:pt idx="1">
                  <c:v>12118</c:v>
                </c:pt>
                <c:pt idx="2">
                  <c:v>5610</c:v>
                </c:pt>
                <c:pt idx="3">
                  <c:v>5148</c:v>
                </c:pt>
                <c:pt idx="4">
                  <c:v>201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27-43B1-BDF7-A087E3C6F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19353936"/>
        <c:axId val="1519359920"/>
        <c:axId val="0"/>
      </c:bar3DChart>
      <c:catAx>
        <c:axId val="151935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9359920"/>
        <c:crosses val="autoZero"/>
        <c:auto val="1"/>
        <c:lblAlgn val="ctr"/>
        <c:lblOffset val="100"/>
        <c:noMultiLvlLbl val="0"/>
      </c:catAx>
      <c:valAx>
        <c:axId val="15193599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1935393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E94C81-D215-4B5D-B8B3-1A51B23A5D9E}" type="doc">
      <dgm:prSet loTypeId="urn:microsoft.com/office/officeart/2008/layout/PictureAccentList" loCatId="pictur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CE9EA36-62A3-4587-A607-690A07E243E2}">
      <dgm:prSet phldrT="[Текст]" custT="1"/>
      <dgm:spPr>
        <a:noFill/>
        <a:effectLst/>
      </dgm:spPr>
      <dgm:t>
        <a:bodyPr/>
        <a:lstStyle/>
        <a:p>
          <a:pPr algn="just"/>
          <a:r>
            <a:rPr lang="ru-RU" sz="2400" dirty="0">
              <a:solidFill>
                <a:schemeClr val="tx1"/>
              </a:solidFill>
            </a:rPr>
            <a:t>ГБУЗ «ГП №23 ДЗМ» -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является амбулаторным центром смешанного типа, в состав которого входят :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ГБУЗ «ГП №23 ДЗМ» - головное здание,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1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2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3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4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5 ( взрослое и детское население)</a:t>
          </a:r>
        </a:p>
        <a:p>
          <a:pPr algn="l"/>
          <a:endParaRPr lang="ru-RU" sz="2400" dirty="0">
            <a:solidFill>
              <a:schemeClr val="tx1"/>
            </a:solidFill>
          </a:endParaRPr>
        </a:p>
      </dgm:t>
    </dgm:pt>
    <dgm:pt modelId="{0F2CE0C0-51A5-4975-95FB-E52211E1461E}" type="parTrans" cxnId="{16967F02-1EFE-4492-8B73-D52886242EA0}">
      <dgm:prSet/>
      <dgm:spPr/>
      <dgm:t>
        <a:bodyPr/>
        <a:lstStyle/>
        <a:p>
          <a:endParaRPr lang="ru-RU"/>
        </a:p>
      </dgm:t>
    </dgm:pt>
    <dgm:pt modelId="{176BEB20-97AE-450D-B889-166A8B9E5BB1}" type="sibTrans" cxnId="{16967F02-1EFE-4492-8B73-D52886242EA0}">
      <dgm:prSet/>
      <dgm:spPr/>
      <dgm:t>
        <a:bodyPr/>
        <a:lstStyle/>
        <a:p>
          <a:endParaRPr lang="ru-RU"/>
        </a:p>
      </dgm:t>
    </dgm:pt>
    <dgm:pt modelId="{71AF6D3B-93FA-4C0B-906C-DD0E28ABC364}">
      <dgm:prSet phldrT="[Текст]" custT="1"/>
      <dgm:spPr>
        <a:noFill/>
      </dgm:spPr>
      <dgm:t>
        <a:bodyPr/>
        <a:lstStyle/>
        <a:p>
          <a:pPr algn="l"/>
          <a:r>
            <a:rPr lang="ru-RU" sz="2400" dirty="0">
              <a:solidFill>
                <a:schemeClr val="tx1"/>
              </a:solidFill>
            </a:rPr>
            <a:t>Обслуживаемые районы: </a:t>
          </a:r>
        </a:p>
        <a:p>
          <a:pPr algn="l"/>
          <a:r>
            <a:rPr lang="ru-RU" sz="2400" dirty="0">
              <a:solidFill>
                <a:schemeClr val="tx1"/>
              </a:solidFill>
            </a:rPr>
            <a:t>Выхино-Жулебино, Некрасовка, Рязанский</a:t>
          </a:r>
          <a:r>
            <a:rPr lang="ru-RU" sz="2400" dirty="0"/>
            <a:t>.</a:t>
          </a:r>
        </a:p>
      </dgm:t>
    </dgm:pt>
    <dgm:pt modelId="{BC23B661-3D55-44DD-AA16-DA97D194D3BC}" type="parTrans" cxnId="{929F7E4A-F0A6-4B61-9AD5-19CDD62862B2}">
      <dgm:prSet/>
      <dgm:spPr/>
      <dgm:t>
        <a:bodyPr/>
        <a:lstStyle/>
        <a:p>
          <a:endParaRPr lang="ru-RU"/>
        </a:p>
      </dgm:t>
    </dgm:pt>
    <dgm:pt modelId="{F9C25DAD-B348-483F-9765-280C454D6B25}" type="sibTrans" cxnId="{929F7E4A-F0A6-4B61-9AD5-19CDD62862B2}">
      <dgm:prSet/>
      <dgm:spPr/>
      <dgm:t>
        <a:bodyPr/>
        <a:lstStyle/>
        <a:p>
          <a:endParaRPr lang="ru-RU"/>
        </a:p>
      </dgm:t>
    </dgm:pt>
    <dgm:pt modelId="{6C9ABC2E-2C7E-458C-8E0E-A7FBE77458BF}">
      <dgm:prSet phldrT="[Текст]" custT="1"/>
      <dgm:spPr>
        <a:noFill/>
      </dgm:spPr>
      <dgm:t>
        <a:bodyPr/>
        <a:lstStyle/>
        <a:p>
          <a:pPr algn="ctr"/>
          <a:endParaRPr lang="ru-RU" sz="2400" dirty="0">
            <a:solidFill>
              <a:schemeClr val="tx1"/>
            </a:solidFill>
          </a:endParaRPr>
        </a:p>
      </dgm:t>
    </dgm:pt>
    <dgm:pt modelId="{156B682D-0735-4407-BD44-F1AD9BC35A76}" type="sibTrans" cxnId="{D09B6B69-B1B7-4B68-BDB3-1911FC6687E1}">
      <dgm:prSet/>
      <dgm:spPr/>
      <dgm:t>
        <a:bodyPr/>
        <a:lstStyle/>
        <a:p>
          <a:endParaRPr lang="ru-RU"/>
        </a:p>
      </dgm:t>
    </dgm:pt>
    <dgm:pt modelId="{62C56FBC-60F1-4A9D-A771-249A305BBE98}" type="parTrans" cxnId="{D09B6B69-B1B7-4B68-BDB3-1911FC6687E1}">
      <dgm:prSet/>
      <dgm:spPr/>
      <dgm:t>
        <a:bodyPr/>
        <a:lstStyle/>
        <a:p>
          <a:endParaRPr lang="ru-RU"/>
        </a:p>
      </dgm:t>
    </dgm:pt>
    <dgm:pt modelId="{660CBC84-6478-4B06-8DD5-9ACB8FC3BB42}">
      <dgm:prSet phldrT="[Текст]"/>
      <dgm:spPr>
        <a:noFill/>
      </dgm:spPr>
      <dgm:t>
        <a:bodyPr/>
        <a:lstStyle/>
        <a:p>
          <a:pPr algn="l"/>
          <a:r>
            <a:rPr lang="ru-RU" dirty="0">
              <a:solidFill>
                <a:schemeClr val="tx1"/>
              </a:solidFill>
            </a:rPr>
            <a:t>Общая численность прикрепленного населения 299 385</a:t>
          </a:r>
        </a:p>
      </dgm:t>
    </dgm:pt>
    <dgm:pt modelId="{7008E208-5FE8-4E21-B7F0-CABC51C28079}" type="parTrans" cxnId="{CD7C95F2-B425-4673-81DB-5050966368B4}">
      <dgm:prSet/>
      <dgm:spPr/>
      <dgm:t>
        <a:bodyPr/>
        <a:lstStyle/>
        <a:p>
          <a:endParaRPr lang="ru-RU"/>
        </a:p>
      </dgm:t>
    </dgm:pt>
    <dgm:pt modelId="{845BDA8F-7C76-4737-9D18-5303735AD450}" type="sibTrans" cxnId="{CD7C95F2-B425-4673-81DB-5050966368B4}">
      <dgm:prSet/>
      <dgm:spPr/>
      <dgm:t>
        <a:bodyPr/>
        <a:lstStyle/>
        <a:p>
          <a:endParaRPr lang="ru-RU"/>
        </a:p>
      </dgm:t>
    </dgm:pt>
    <dgm:pt modelId="{74867C81-628F-4194-9B5B-41D6834E4703}" type="pres">
      <dgm:prSet presAssocID="{F2E94C81-D215-4B5D-B8B3-1A51B23A5D9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11922E9-38B2-4FD1-BCB4-048FC079E697}" type="pres">
      <dgm:prSet presAssocID="{6C9ABC2E-2C7E-458C-8E0E-A7FBE77458BF}" presName="root" presStyleCnt="0">
        <dgm:presLayoutVars>
          <dgm:chMax/>
          <dgm:chPref val="4"/>
        </dgm:presLayoutVars>
      </dgm:prSet>
      <dgm:spPr/>
    </dgm:pt>
    <dgm:pt modelId="{440EABEC-2B58-4FDB-B7EA-A2EFB2062CD2}" type="pres">
      <dgm:prSet presAssocID="{6C9ABC2E-2C7E-458C-8E0E-A7FBE77458BF}" presName="rootComposite" presStyleCnt="0">
        <dgm:presLayoutVars/>
      </dgm:prSet>
      <dgm:spPr/>
    </dgm:pt>
    <dgm:pt modelId="{323F1DED-F1CA-48A1-9AD9-2FAEADDBB900}" type="pres">
      <dgm:prSet presAssocID="{6C9ABC2E-2C7E-458C-8E0E-A7FBE77458BF}" presName="rootText" presStyleLbl="node0" presStyleIdx="0" presStyleCnt="1" custScaleX="88513" custScaleY="11332" custLinFactNeighborX="-7211" custLinFactNeighborY="-15579">
        <dgm:presLayoutVars>
          <dgm:chMax/>
          <dgm:chPref val="4"/>
        </dgm:presLayoutVars>
      </dgm:prSet>
      <dgm:spPr/>
      <dgm:t>
        <a:bodyPr/>
        <a:lstStyle/>
        <a:p>
          <a:endParaRPr lang="ru-RU"/>
        </a:p>
      </dgm:t>
    </dgm:pt>
    <dgm:pt modelId="{89A523CA-F81F-4FF6-9974-91F4D689C04E}" type="pres">
      <dgm:prSet presAssocID="{6C9ABC2E-2C7E-458C-8E0E-A7FBE77458BF}" presName="childShape" presStyleCnt="0">
        <dgm:presLayoutVars>
          <dgm:chMax val="0"/>
          <dgm:chPref val="0"/>
        </dgm:presLayoutVars>
      </dgm:prSet>
      <dgm:spPr/>
    </dgm:pt>
    <dgm:pt modelId="{B45E748F-214A-40FC-9AA1-9F92B1699127}" type="pres">
      <dgm:prSet presAssocID="{CCE9EA36-62A3-4587-A607-690A07E243E2}" presName="childComposite" presStyleCnt="0">
        <dgm:presLayoutVars>
          <dgm:chMax val="0"/>
          <dgm:chPref val="0"/>
        </dgm:presLayoutVars>
      </dgm:prSet>
      <dgm:spPr/>
    </dgm:pt>
    <dgm:pt modelId="{A7FD24E1-76B3-4573-9B16-0FFB926FCD82}" type="pres">
      <dgm:prSet presAssocID="{CCE9EA36-62A3-4587-A607-690A07E243E2}" presName="Image" presStyleLbl="node1" presStyleIdx="0" presStyleCnt="3" custScaleX="214755" custScaleY="167408" custLinFactY="94404" custLinFactNeighborX="9129" custLinFactNeighborY="100000"/>
      <dgm:spPr>
        <a:noFill/>
        <a:ln>
          <a:noFill/>
        </a:ln>
      </dgm:spPr>
    </dgm:pt>
    <dgm:pt modelId="{3FC349F7-F353-4E57-A67D-3EC815E78E7C}" type="pres">
      <dgm:prSet presAssocID="{CCE9EA36-62A3-4587-A607-690A07E243E2}" presName="childText" presStyleLbl="lnNode1" presStyleIdx="0" presStyleCnt="3" custScaleX="178846" custScaleY="360845" custLinFactNeighborX="7115" custLinFactNeighborY="-7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8ED8B6-29EB-4CE6-AE1D-0AC6B8A5E423}" type="pres">
      <dgm:prSet presAssocID="{71AF6D3B-93FA-4C0B-906C-DD0E28ABC364}" presName="childComposite" presStyleCnt="0">
        <dgm:presLayoutVars>
          <dgm:chMax val="0"/>
          <dgm:chPref val="0"/>
        </dgm:presLayoutVars>
      </dgm:prSet>
      <dgm:spPr/>
    </dgm:pt>
    <dgm:pt modelId="{667C338E-6341-4D05-9E2E-37F6F1437532}" type="pres">
      <dgm:prSet presAssocID="{71AF6D3B-93FA-4C0B-906C-DD0E28ABC364}" presName="Image" presStyleLbl="node1" presStyleIdx="1" presStyleCnt="3" custScaleX="80105" custScaleY="74535" custLinFactX="-200000" custLinFactNeighborX="-224614" custLinFactNeighborY="26536"/>
      <dgm:spPr>
        <a:noFill/>
      </dgm:spPr>
    </dgm:pt>
    <dgm:pt modelId="{548BA013-E048-469A-9EF5-3C3BD28FBB58}" type="pres">
      <dgm:prSet presAssocID="{71AF6D3B-93FA-4C0B-906C-DD0E28ABC364}" presName="childText" presStyleLbl="lnNode1" presStyleIdx="1" presStyleCnt="3" custLinFactNeighborX="11407" custLinFactNeighborY="8821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94F369-1361-4E8E-9618-09D411886D7B}" type="pres">
      <dgm:prSet presAssocID="{660CBC84-6478-4B06-8DD5-9ACB8FC3BB42}" presName="childComposite" presStyleCnt="0">
        <dgm:presLayoutVars>
          <dgm:chMax val="0"/>
          <dgm:chPref val="0"/>
        </dgm:presLayoutVars>
      </dgm:prSet>
      <dgm:spPr/>
    </dgm:pt>
    <dgm:pt modelId="{451E1C00-3024-4D4B-92C7-1BA531B0785D}" type="pres">
      <dgm:prSet presAssocID="{660CBC84-6478-4B06-8DD5-9ACB8FC3BB42}" presName="Image" presStyleLbl="node1" presStyleIdx="2" presStyleCnt="3" custLinFactX="-100000" custLinFactNeighborX="-193448" custLinFactNeighborY="-8907"/>
      <dgm:spPr>
        <a:noFill/>
      </dgm:spPr>
    </dgm:pt>
    <dgm:pt modelId="{B3A3F816-B092-41D4-B77D-DFA379F6B9A0}" type="pres">
      <dgm:prSet presAssocID="{660CBC84-6478-4B06-8DD5-9ACB8FC3BB42}" presName="childText" presStyleLbl="lnNode1" presStyleIdx="2" presStyleCnt="3" custScaleX="84868" custLinFactNeighborX="-97463" custLinFactNeighborY="-89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1801C3F-B907-4290-9FFA-C24915D60A19}" type="presOf" srcId="{660CBC84-6478-4B06-8DD5-9ACB8FC3BB42}" destId="{B3A3F816-B092-41D4-B77D-DFA379F6B9A0}" srcOrd="0" destOrd="0" presId="urn:microsoft.com/office/officeart/2008/layout/PictureAccentList"/>
    <dgm:cxn modelId="{16967F02-1EFE-4492-8B73-D52886242EA0}" srcId="{6C9ABC2E-2C7E-458C-8E0E-A7FBE77458BF}" destId="{CCE9EA36-62A3-4587-A607-690A07E243E2}" srcOrd="0" destOrd="0" parTransId="{0F2CE0C0-51A5-4975-95FB-E52211E1461E}" sibTransId="{176BEB20-97AE-450D-B889-166A8B9E5BB1}"/>
    <dgm:cxn modelId="{CD7C95F2-B425-4673-81DB-5050966368B4}" srcId="{6C9ABC2E-2C7E-458C-8E0E-A7FBE77458BF}" destId="{660CBC84-6478-4B06-8DD5-9ACB8FC3BB42}" srcOrd="2" destOrd="0" parTransId="{7008E208-5FE8-4E21-B7F0-CABC51C28079}" sibTransId="{845BDA8F-7C76-4737-9D18-5303735AD450}"/>
    <dgm:cxn modelId="{D09B6B69-B1B7-4B68-BDB3-1911FC6687E1}" srcId="{F2E94C81-D215-4B5D-B8B3-1A51B23A5D9E}" destId="{6C9ABC2E-2C7E-458C-8E0E-A7FBE77458BF}" srcOrd="0" destOrd="0" parTransId="{62C56FBC-60F1-4A9D-A771-249A305BBE98}" sibTransId="{156B682D-0735-4407-BD44-F1AD9BC35A76}"/>
    <dgm:cxn modelId="{62916BAB-84C0-4FA3-A7DD-15F947A27A26}" type="presOf" srcId="{CCE9EA36-62A3-4587-A607-690A07E243E2}" destId="{3FC349F7-F353-4E57-A67D-3EC815E78E7C}" srcOrd="0" destOrd="0" presId="urn:microsoft.com/office/officeart/2008/layout/PictureAccentList"/>
    <dgm:cxn modelId="{38FED606-DEB3-4035-BA21-5C5E711CE58D}" type="presOf" srcId="{F2E94C81-D215-4B5D-B8B3-1A51B23A5D9E}" destId="{74867C81-628F-4194-9B5B-41D6834E4703}" srcOrd="0" destOrd="0" presId="urn:microsoft.com/office/officeart/2008/layout/PictureAccentList"/>
    <dgm:cxn modelId="{929F7E4A-F0A6-4B61-9AD5-19CDD62862B2}" srcId="{6C9ABC2E-2C7E-458C-8E0E-A7FBE77458BF}" destId="{71AF6D3B-93FA-4C0B-906C-DD0E28ABC364}" srcOrd="1" destOrd="0" parTransId="{BC23B661-3D55-44DD-AA16-DA97D194D3BC}" sibTransId="{F9C25DAD-B348-483F-9765-280C454D6B25}"/>
    <dgm:cxn modelId="{28B8FFF9-CB4E-45D1-956B-2D862ECEA3E8}" type="presOf" srcId="{71AF6D3B-93FA-4C0B-906C-DD0E28ABC364}" destId="{548BA013-E048-469A-9EF5-3C3BD28FBB58}" srcOrd="0" destOrd="0" presId="urn:microsoft.com/office/officeart/2008/layout/PictureAccentList"/>
    <dgm:cxn modelId="{0761CA13-149F-49E5-8146-7CE4FEE56741}" type="presOf" srcId="{6C9ABC2E-2C7E-458C-8E0E-A7FBE77458BF}" destId="{323F1DED-F1CA-48A1-9AD9-2FAEADDBB900}" srcOrd="0" destOrd="0" presId="urn:microsoft.com/office/officeart/2008/layout/PictureAccentList"/>
    <dgm:cxn modelId="{C9864581-771E-47B5-815B-5802102DA4E8}" type="presParOf" srcId="{74867C81-628F-4194-9B5B-41D6834E4703}" destId="{411922E9-38B2-4FD1-BCB4-048FC079E697}" srcOrd="0" destOrd="0" presId="urn:microsoft.com/office/officeart/2008/layout/PictureAccentList"/>
    <dgm:cxn modelId="{CF3E68AF-63D0-4279-B8D6-1CCF5010DEC6}" type="presParOf" srcId="{411922E9-38B2-4FD1-BCB4-048FC079E697}" destId="{440EABEC-2B58-4FDB-B7EA-A2EFB2062CD2}" srcOrd="0" destOrd="0" presId="urn:microsoft.com/office/officeart/2008/layout/PictureAccentList"/>
    <dgm:cxn modelId="{0617256C-51D1-4CCE-8832-098EC62192A3}" type="presParOf" srcId="{440EABEC-2B58-4FDB-B7EA-A2EFB2062CD2}" destId="{323F1DED-F1CA-48A1-9AD9-2FAEADDBB900}" srcOrd="0" destOrd="0" presId="urn:microsoft.com/office/officeart/2008/layout/PictureAccentList"/>
    <dgm:cxn modelId="{88E5A914-8942-4CB4-B123-98E4F30DAC0E}" type="presParOf" srcId="{411922E9-38B2-4FD1-BCB4-048FC079E697}" destId="{89A523CA-F81F-4FF6-9974-91F4D689C04E}" srcOrd="1" destOrd="0" presId="urn:microsoft.com/office/officeart/2008/layout/PictureAccentList"/>
    <dgm:cxn modelId="{4DFB0273-EF29-49B8-B0A4-1E40A6F5C853}" type="presParOf" srcId="{89A523CA-F81F-4FF6-9974-91F4D689C04E}" destId="{B45E748F-214A-40FC-9AA1-9F92B1699127}" srcOrd="0" destOrd="0" presId="urn:microsoft.com/office/officeart/2008/layout/PictureAccentList"/>
    <dgm:cxn modelId="{583D9865-7630-4A2A-B198-144276BA5755}" type="presParOf" srcId="{B45E748F-214A-40FC-9AA1-9F92B1699127}" destId="{A7FD24E1-76B3-4573-9B16-0FFB926FCD82}" srcOrd="0" destOrd="0" presId="urn:microsoft.com/office/officeart/2008/layout/PictureAccentList"/>
    <dgm:cxn modelId="{7799A88C-58FB-40BD-A460-F2E401507BEE}" type="presParOf" srcId="{B45E748F-214A-40FC-9AA1-9F92B1699127}" destId="{3FC349F7-F353-4E57-A67D-3EC815E78E7C}" srcOrd="1" destOrd="0" presId="urn:microsoft.com/office/officeart/2008/layout/PictureAccentList"/>
    <dgm:cxn modelId="{A08B3565-3882-4463-83AE-9754B8EA7A93}" type="presParOf" srcId="{89A523CA-F81F-4FF6-9974-91F4D689C04E}" destId="{808ED8B6-29EB-4CE6-AE1D-0AC6B8A5E423}" srcOrd="1" destOrd="0" presId="urn:microsoft.com/office/officeart/2008/layout/PictureAccentList"/>
    <dgm:cxn modelId="{ECD5F9F5-02F0-46CA-9416-771731F7C346}" type="presParOf" srcId="{808ED8B6-29EB-4CE6-AE1D-0AC6B8A5E423}" destId="{667C338E-6341-4D05-9E2E-37F6F1437532}" srcOrd="0" destOrd="0" presId="urn:microsoft.com/office/officeart/2008/layout/PictureAccentList"/>
    <dgm:cxn modelId="{A5DC49E6-9BD7-49D1-B972-0CFCE6C868BC}" type="presParOf" srcId="{808ED8B6-29EB-4CE6-AE1D-0AC6B8A5E423}" destId="{548BA013-E048-469A-9EF5-3C3BD28FBB58}" srcOrd="1" destOrd="0" presId="urn:microsoft.com/office/officeart/2008/layout/PictureAccentList"/>
    <dgm:cxn modelId="{51AE6A06-DE03-45FB-8C2A-50E3710E4F25}" type="presParOf" srcId="{89A523CA-F81F-4FF6-9974-91F4D689C04E}" destId="{3294F369-1361-4E8E-9618-09D411886D7B}" srcOrd="2" destOrd="0" presId="urn:microsoft.com/office/officeart/2008/layout/PictureAccentList"/>
    <dgm:cxn modelId="{014297F9-2E0A-4922-8EF9-B92954B3DBA0}" type="presParOf" srcId="{3294F369-1361-4E8E-9618-09D411886D7B}" destId="{451E1C00-3024-4D4B-92C7-1BA531B0785D}" srcOrd="0" destOrd="0" presId="urn:microsoft.com/office/officeart/2008/layout/PictureAccentList"/>
    <dgm:cxn modelId="{740FC507-874A-4C88-A0AC-DBD9CFFD07AF}" type="presParOf" srcId="{3294F369-1361-4E8E-9618-09D411886D7B}" destId="{B3A3F816-B092-41D4-B77D-DFA379F6B9A0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23DE5C-B0AB-4833-B484-40046F5BB668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DF79DA3-A552-4027-9B51-B4979971B976}">
      <dgm:prSet phldrT="[Текст]" custT="1"/>
      <dgm:spPr/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Магнитно-резонансный томограф</a:t>
          </a:r>
          <a:endParaRPr lang="ru-RU" sz="1600" dirty="0">
            <a:latin typeface="+mn-lt"/>
          </a:endParaRPr>
        </a:p>
      </dgm:t>
    </dgm:pt>
    <dgm:pt modelId="{0D778CAE-9FD2-4B81-8358-62177F76D18A}" type="parTrans" cxnId="{11409203-690C-4E32-A56F-9E149635A956}">
      <dgm:prSet/>
      <dgm:spPr/>
      <dgm:t>
        <a:bodyPr/>
        <a:lstStyle/>
        <a:p>
          <a:endParaRPr lang="ru-RU"/>
        </a:p>
      </dgm:t>
    </dgm:pt>
    <dgm:pt modelId="{6767AA7B-58B3-4368-933E-0438F2315F04}" type="sibTrans" cxnId="{11409203-690C-4E32-A56F-9E149635A956}">
      <dgm:prSet/>
      <dgm:spPr/>
      <dgm:t>
        <a:bodyPr/>
        <a:lstStyle/>
        <a:p>
          <a:endParaRPr lang="ru-RU"/>
        </a:p>
      </dgm:t>
    </dgm:pt>
    <dgm:pt modelId="{835DA0B2-CF95-4470-86D6-BCD8CFB7A717}">
      <dgm:prSet phldrT="[Текст]" custT="1"/>
      <dgm:spPr/>
      <dgm:t>
        <a:bodyPr/>
        <a:lstStyle/>
        <a:p>
          <a:r>
            <a:rPr lang="ru-RU" sz="1600" smtClean="0">
              <a:latin typeface="+mn-lt"/>
            </a:rPr>
            <a:t>Планируется </a:t>
          </a:r>
          <a:r>
            <a:rPr lang="ru-RU" sz="1600" dirty="0">
              <a:latin typeface="+mn-lt"/>
            </a:rPr>
            <a:t>поставка нового в 2024 </a:t>
          </a:r>
          <a:r>
            <a:rPr lang="ru-RU" sz="1600" smtClean="0">
              <a:latin typeface="+mn-lt"/>
            </a:rPr>
            <a:t>году </a:t>
          </a:r>
        </a:p>
        <a:p>
          <a:r>
            <a:rPr lang="ru-RU" sz="1600" smtClean="0">
              <a:latin typeface="+mn-lt"/>
            </a:rPr>
            <a:t>ГП </a:t>
          </a:r>
          <a:r>
            <a:rPr lang="ru-RU" sz="1600" dirty="0" smtClean="0">
              <a:latin typeface="+mn-lt"/>
            </a:rPr>
            <a:t>23</a:t>
          </a:r>
          <a:endParaRPr lang="ru-RU" sz="1600" dirty="0">
            <a:latin typeface="+mn-lt"/>
          </a:endParaRPr>
        </a:p>
      </dgm:t>
    </dgm:pt>
    <dgm:pt modelId="{124E3EF3-328E-4E6B-9F7A-E0C76F0F878D}" type="parTrans" cxnId="{87168D4E-A9B0-4F94-99EF-6B45B57E7F20}">
      <dgm:prSet/>
      <dgm:spPr/>
      <dgm:t>
        <a:bodyPr/>
        <a:lstStyle/>
        <a:p>
          <a:endParaRPr lang="ru-RU"/>
        </a:p>
      </dgm:t>
    </dgm:pt>
    <dgm:pt modelId="{E62D1477-C0E5-4405-ABD0-53603F3DD9F1}" type="sibTrans" cxnId="{87168D4E-A9B0-4F94-99EF-6B45B57E7F20}">
      <dgm:prSet/>
      <dgm:spPr/>
      <dgm:t>
        <a:bodyPr/>
        <a:lstStyle/>
        <a:p>
          <a:endParaRPr lang="ru-RU"/>
        </a:p>
      </dgm:t>
    </dgm:pt>
    <dgm:pt modelId="{A91EABEF-B229-40D0-8389-F2668F60FA87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ГП 23 </a:t>
          </a:r>
        </a:p>
        <a:p>
          <a:r>
            <a:rPr lang="ru-RU" sz="1600" dirty="0">
              <a:latin typeface="+mn-lt"/>
            </a:rPr>
            <a:t>филиал 5</a:t>
          </a:r>
        </a:p>
      </dgm:t>
    </dgm:pt>
    <dgm:pt modelId="{26ED02AA-D684-4071-B542-E75590EA0E21}" type="parTrans" cxnId="{EC3B11EA-3371-4C51-928A-9C21E4F84A5E}">
      <dgm:prSet/>
      <dgm:spPr/>
      <dgm:t>
        <a:bodyPr/>
        <a:lstStyle/>
        <a:p>
          <a:endParaRPr lang="ru-RU"/>
        </a:p>
      </dgm:t>
    </dgm:pt>
    <dgm:pt modelId="{AFB93A83-8067-41EE-A1B7-C3A633EF4062}" type="sibTrans" cxnId="{EC3B11EA-3371-4C51-928A-9C21E4F84A5E}">
      <dgm:prSet/>
      <dgm:spPr/>
      <dgm:t>
        <a:bodyPr/>
        <a:lstStyle/>
        <a:p>
          <a:endParaRPr lang="ru-RU"/>
        </a:p>
      </dgm:t>
    </dgm:pt>
    <dgm:pt modelId="{B39E9CE0-06EC-421B-A4EC-C15352BFFACA}" type="pres">
      <dgm:prSet presAssocID="{6A23DE5C-B0AB-4833-B484-40046F5BB66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0B8744A-9EE0-4E5D-ACEB-5BE9586B3B5E}" type="pres">
      <dgm:prSet presAssocID="{2DF79DA3-A552-4027-9B51-B4979971B976}" presName="hierRoot1" presStyleCnt="0"/>
      <dgm:spPr/>
    </dgm:pt>
    <dgm:pt modelId="{D922DB73-E2D1-43D9-B701-355864F4436B}" type="pres">
      <dgm:prSet presAssocID="{2DF79DA3-A552-4027-9B51-B4979971B976}" presName="composite" presStyleCnt="0"/>
      <dgm:spPr/>
    </dgm:pt>
    <dgm:pt modelId="{0F390B74-A316-417D-8918-E73DDB0A1167}" type="pres">
      <dgm:prSet presAssocID="{2DF79DA3-A552-4027-9B51-B4979971B976}" presName="background" presStyleLbl="node0" presStyleIdx="0" presStyleCnt="1"/>
      <dgm:spPr/>
    </dgm:pt>
    <dgm:pt modelId="{3C442A08-0CCE-41F0-BFFC-754AD9C8D03E}" type="pres">
      <dgm:prSet presAssocID="{2DF79DA3-A552-4027-9B51-B4979971B976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7A41B41-EF87-4344-89AF-029DACFC2DE3}" type="pres">
      <dgm:prSet presAssocID="{2DF79DA3-A552-4027-9B51-B4979971B976}" presName="hierChild2" presStyleCnt="0"/>
      <dgm:spPr/>
    </dgm:pt>
    <dgm:pt modelId="{44A82793-D866-4F61-94D0-D4608D3785E8}" type="pres">
      <dgm:prSet presAssocID="{124E3EF3-328E-4E6B-9F7A-E0C76F0F878D}" presName="Name10" presStyleLbl="parChTrans1D2" presStyleIdx="0" presStyleCnt="2"/>
      <dgm:spPr/>
      <dgm:t>
        <a:bodyPr/>
        <a:lstStyle/>
        <a:p>
          <a:endParaRPr lang="ru-RU"/>
        </a:p>
      </dgm:t>
    </dgm:pt>
    <dgm:pt modelId="{8988CE7E-2C11-49CF-AA33-F182841281D0}" type="pres">
      <dgm:prSet presAssocID="{835DA0B2-CF95-4470-86D6-BCD8CFB7A717}" presName="hierRoot2" presStyleCnt="0"/>
      <dgm:spPr/>
    </dgm:pt>
    <dgm:pt modelId="{43B4627C-8706-4AEE-89B7-D4A286DB907C}" type="pres">
      <dgm:prSet presAssocID="{835DA0B2-CF95-4470-86D6-BCD8CFB7A717}" presName="composite2" presStyleCnt="0"/>
      <dgm:spPr/>
    </dgm:pt>
    <dgm:pt modelId="{9D4FAEA8-AD57-47B5-82F1-4B1BB0C99C79}" type="pres">
      <dgm:prSet presAssocID="{835DA0B2-CF95-4470-86D6-BCD8CFB7A717}" presName="background2" presStyleLbl="node2" presStyleIdx="0" presStyleCnt="2"/>
      <dgm:spPr/>
    </dgm:pt>
    <dgm:pt modelId="{803DE002-C820-45A8-9C84-A056AE7402FC}" type="pres">
      <dgm:prSet presAssocID="{835DA0B2-CF95-4470-86D6-BCD8CFB7A717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E7A3CE4-572A-4FF2-893F-7263278D5E97}" type="pres">
      <dgm:prSet presAssocID="{835DA0B2-CF95-4470-86D6-BCD8CFB7A717}" presName="hierChild3" presStyleCnt="0"/>
      <dgm:spPr/>
    </dgm:pt>
    <dgm:pt modelId="{0E2713EE-4595-4CED-AE98-5238250CB196}" type="pres">
      <dgm:prSet presAssocID="{26ED02AA-D684-4071-B542-E75590EA0E21}" presName="Name10" presStyleLbl="parChTrans1D2" presStyleIdx="1" presStyleCnt="2"/>
      <dgm:spPr/>
      <dgm:t>
        <a:bodyPr/>
        <a:lstStyle/>
        <a:p>
          <a:endParaRPr lang="ru-RU"/>
        </a:p>
      </dgm:t>
    </dgm:pt>
    <dgm:pt modelId="{C43FCE00-828C-4BC1-ABAB-E5C5E7B44103}" type="pres">
      <dgm:prSet presAssocID="{A91EABEF-B229-40D0-8389-F2668F60FA87}" presName="hierRoot2" presStyleCnt="0"/>
      <dgm:spPr/>
    </dgm:pt>
    <dgm:pt modelId="{CB29A29D-DE6E-4D8E-A5B9-44971DA6FF8B}" type="pres">
      <dgm:prSet presAssocID="{A91EABEF-B229-40D0-8389-F2668F60FA87}" presName="composite2" presStyleCnt="0"/>
      <dgm:spPr/>
    </dgm:pt>
    <dgm:pt modelId="{39FB8E47-3356-4D7D-8F6E-E4E359F50C52}" type="pres">
      <dgm:prSet presAssocID="{A91EABEF-B229-40D0-8389-F2668F60FA87}" presName="background2" presStyleLbl="node2" presStyleIdx="1" presStyleCnt="2"/>
      <dgm:spPr/>
    </dgm:pt>
    <dgm:pt modelId="{A2845529-55C7-4DCE-9B4E-B0C7940448DB}" type="pres">
      <dgm:prSet presAssocID="{A91EABEF-B229-40D0-8389-F2668F60FA87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D5A5859-9C30-44B3-956D-B7ADE8289931}" type="pres">
      <dgm:prSet presAssocID="{A91EABEF-B229-40D0-8389-F2668F60FA87}" presName="hierChild3" presStyleCnt="0"/>
      <dgm:spPr/>
    </dgm:pt>
  </dgm:ptLst>
  <dgm:cxnLst>
    <dgm:cxn modelId="{42397806-8BB6-49CC-AAEA-B86979CC3ADA}" type="presOf" srcId="{26ED02AA-D684-4071-B542-E75590EA0E21}" destId="{0E2713EE-4595-4CED-AE98-5238250CB196}" srcOrd="0" destOrd="0" presId="urn:microsoft.com/office/officeart/2005/8/layout/hierarchy1"/>
    <dgm:cxn modelId="{5435503B-4CA8-4035-8088-5D8EC23B39A5}" type="presOf" srcId="{6A23DE5C-B0AB-4833-B484-40046F5BB668}" destId="{B39E9CE0-06EC-421B-A4EC-C15352BFFACA}" srcOrd="0" destOrd="0" presId="urn:microsoft.com/office/officeart/2005/8/layout/hierarchy1"/>
    <dgm:cxn modelId="{11409203-690C-4E32-A56F-9E149635A956}" srcId="{6A23DE5C-B0AB-4833-B484-40046F5BB668}" destId="{2DF79DA3-A552-4027-9B51-B4979971B976}" srcOrd="0" destOrd="0" parTransId="{0D778CAE-9FD2-4B81-8358-62177F76D18A}" sibTransId="{6767AA7B-58B3-4368-933E-0438F2315F04}"/>
    <dgm:cxn modelId="{87168D4E-A9B0-4F94-99EF-6B45B57E7F20}" srcId="{2DF79DA3-A552-4027-9B51-B4979971B976}" destId="{835DA0B2-CF95-4470-86D6-BCD8CFB7A717}" srcOrd="0" destOrd="0" parTransId="{124E3EF3-328E-4E6B-9F7A-E0C76F0F878D}" sibTransId="{E62D1477-C0E5-4405-ABD0-53603F3DD9F1}"/>
    <dgm:cxn modelId="{45CDE991-805F-4B50-83AD-7758AA4B88FB}" type="presOf" srcId="{124E3EF3-328E-4E6B-9F7A-E0C76F0F878D}" destId="{44A82793-D866-4F61-94D0-D4608D3785E8}" srcOrd="0" destOrd="0" presId="urn:microsoft.com/office/officeart/2005/8/layout/hierarchy1"/>
    <dgm:cxn modelId="{8A795B3D-29AA-4087-9C70-CC3D8F0869EB}" type="presOf" srcId="{2DF79DA3-A552-4027-9B51-B4979971B976}" destId="{3C442A08-0CCE-41F0-BFFC-754AD9C8D03E}" srcOrd="0" destOrd="0" presId="urn:microsoft.com/office/officeart/2005/8/layout/hierarchy1"/>
    <dgm:cxn modelId="{3F3C81E5-DA4D-4EF6-9A29-A42D2C1146D2}" type="presOf" srcId="{A91EABEF-B229-40D0-8389-F2668F60FA87}" destId="{A2845529-55C7-4DCE-9B4E-B0C7940448DB}" srcOrd="0" destOrd="0" presId="urn:microsoft.com/office/officeart/2005/8/layout/hierarchy1"/>
    <dgm:cxn modelId="{EC3B11EA-3371-4C51-928A-9C21E4F84A5E}" srcId="{2DF79DA3-A552-4027-9B51-B4979971B976}" destId="{A91EABEF-B229-40D0-8389-F2668F60FA87}" srcOrd="1" destOrd="0" parTransId="{26ED02AA-D684-4071-B542-E75590EA0E21}" sibTransId="{AFB93A83-8067-41EE-A1B7-C3A633EF4062}"/>
    <dgm:cxn modelId="{06641953-24B2-4F61-A262-AB99D38ABC20}" type="presOf" srcId="{835DA0B2-CF95-4470-86D6-BCD8CFB7A717}" destId="{803DE002-C820-45A8-9C84-A056AE7402FC}" srcOrd="0" destOrd="0" presId="urn:microsoft.com/office/officeart/2005/8/layout/hierarchy1"/>
    <dgm:cxn modelId="{6759D972-4B5F-44CB-8648-715C874D0238}" type="presParOf" srcId="{B39E9CE0-06EC-421B-A4EC-C15352BFFACA}" destId="{00B8744A-9EE0-4E5D-ACEB-5BE9586B3B5E}" srcOrd="0" destOrd="0" presId="urn:microsoft.com/office/officeart/2005/8/layout/hierarchy1"/>
    <dgm:cxn modelId="{8F4A41B5-87AD-4556-B3FA-B7A437584877}" type="presParOf" srcId="{00B8744A-9EE0-4E5D-ACEB-5BE9586B3B5E}" destId="{D922DB73-E2D1-43D9-B701-355864F4436B}" srcOrd="0" destOrd="0" presId="urn:microsoft.com/office/officeart/2005/8/layout/hierarchy1"/>
    <dgm:cxn modelId="{FA1D5360-F0DC-4751-93B8-0AFE115A35D8}" type="presParOf" srcId="{D922DB73-E2D1-43D9-B701-355864F4436B}" destId="{0F390B74-A316-417D-8918-E73DDB0A1167}" srcOrd="0" destOrd="0" presId="urn:microsoft.com/office/officeart/2005/8/layout/hierarchy1"/>
    <dgm:cxn modelId="{34709B4D-C361-4F46-97A6-B78D60BADE5B}" type="presParOf" srcId="{D922DB73-E2D1-43D9-B701-355864F4436B}" destId="{3C442A08-0CCE-41F0-BFFC-754AD9C8D03E}" srcOrd="1" destOrd="0" presId="urn:microsoft.com/office/officeart/2005/8/layout/hierarchy1"/>
    <dgm:cxn modelId="{0ED190A4-9AD3-4829-BCC2-2218949A3664}" type="presParOf" srcId="{00B8744A-9EE0-4E5D-ACEB-5BE9586B3B5E}" destId="{27A41B41-EF87-4344-89AF-029DACFC2DE3}" srcOrd="1" destOrd="0" presId="urn:microsoft.com/office/officeart/2005/8/layout/hierarchy1"/>
    <dgm:cxn modelId="{3EDBC259-1DBA-4078-ACE2-67AD489A8514}" type="presParOf" srcId="{27A41B41-EF87-4344-89AF-029DACFC2DE3}" destId="{44A82793-D866-4F61-94D0-D4608D3785E8}" srcOrd="0" destOrd="0" presId="urn:microsoft.com/office/officeart/2005/8/layout/hierarchy1"/>
    <dgm:cxn modelId="{AC7051CB-3FD7-405E-BAAC-1195DFF90A5B}" type="presParOf" srcId="{27A41B41-EF87-4344-89AF-029DACFC2DE3}" destId="{8988CE7E-2C11-49CF-AA33-F182841281D0}" srcOrd="1" destOrd="0" presId="urn:microsoft.com/office/officeart/2005/8/layout/hierarchy1"/>
    <dgm:cxn modelId="{700C08DA-F5F3-4D62-A38E-BD0737986FC3}" type="presParOf" srcId="{8988CE7E-2C11-49CF-AA33-F182841281D0}" destId="{43B4627C-8706-4AEE-89B7-D4A286DB907C}" srcOrd="0" destOrd="0" presId="urn:microsoft.com/office/officeart/2005/8/layout/hierarchy1"/>
    <dgm:cxn modelId="{7C7F4857-E4A6-41E6-9D39-B3518ACF2C8A}" type="presParOf" srcId="{43B4627C-8706-4AEE-89B7-D4A286DB907C}" destId="{9D4FAEA8-AD57-47B5-82F1-4B1BB0C99C79}" srcOrd="0" destOrd="0" presId="urn:microsoft.com/office/officeart/2005/8/layout/hierarchy1"/>
    <dgm:cxn modelId="{7DEC4B10-513E-4224-8031-7F0730728ADC}" type="presParOf" srcId="{43B4627C-8706-4AEE-89B7-D4A286DB907C}" destId="{803DE002-C820-45A8-9C84-A056AE7402FC}" srcOrd="1" destOrd="0" presId="urn:microsoft.com/office/officeart/2005/8/layout/hierarchy1"/>
    <dgm:cxn modelId="{D2C27F3E-6C15-459A-B1D1-0AD4212F3819}" type="presParOf" srcId="{8988CE7E-2C11-49CF-AA33-F182841281D0}" destId="{2E7A3CE4-572A-4FF2-893F-7263278D5E97}" srcOrd="1" destOrd="0" presId="urn:microsoft.com/office/officeart/2005/8/layout/hierarchy1"/>
    <dgm:cxn modelId="{8562104E-F3DD-4287-B133-92F8478C635D}" type="presParOf" srcId="{27A41B41-EF87-4344-89AF-029DACFC2DE3}" destId="{0E2713EE-4595-4CED-AE98-5238250CB196}" srcOrd="2" destOrd="0" presId="urn:microsoft.com/office/officeart/2005/8/layout/hierarchy1"/>
    <dgm:cxn modelId="{E73EB43A-CA48-471E-9B72-81E99D74B680}" type="presParOf" srcId="{27A41B41-EF87-4344-89AF-029DACFC2DE3}" destId="{C43FCE00-828C-4BC1-ABAB-E5C5E7B44103}" srcOrd="3" destOrd="0" presId="urn:microsoft.com/office/officeart/2005/8/layout/hierarchy1"/>
    <dgm:cxn modelId="{66B5D3CD-7C56-4A7F-B322-17242C631615}" type="presParOf" srcId="{C43FCE00-828C-4BC1-ABAB-E5C5E7B44103}" destId="{CB29A29D-DE6E-4D8E-A5B9-44971DA6FF8B}" srcOrd="0" destOrd="0" presId="urn:microsoft.com/office/officeart/2005/8/layout/hierarchy1"/>
    <dgm:cxn modelId="{E212F4B0-0E1C-4F79-B7B0-2648CF495B4B}" type="presParOf" srcId="{CB29A29D-DE6E-4D8E-A5B9-44971DA6FF8B}" destId="{39FB8E47-3356-4D7D-8F6E-E4E359F50C52}" srcOrd="0" destOrd="0" presId="urn:microsoft.com/office/officeart/2005/8/layout/hierarchy1"/>
    <dgm:cxn modelId="{6E9F73DE-8B16-4D10-BB6A-45D3F55AC4A0}" type="presParOf" srcId="{CB29A29D-DE6E-4D8E-A5B9-44971DA6FF8B}" destId="{A2845529-55C7-4DCE-9B4E-B0C7940448DB}" srcOrd="1" destOrd="0" presId="urn:microsoft.com/office/officeart/2005/8/layout/hierarchy1"/>
    <dgm:cxn modelId="{E6D48977-BFFD-4039-BED4-464D8E4F65F6}" type="presParOf" srcId="{C43FCE00-828C-4BC1-ABAB-E5C5E7B44103}" destId="{BD5A5859-9C30-44B3-956D-B7ADE828993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2F6953-8856-4B72-9D2C-BE26EB26A70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73BA508-3704-484C-961A-246686C66CD0}">
      <dgm:prSet phldrT="[Текст]" custT="1"/>
      <dgm:spPr/>
      <dgm:t>
        <a:bodyPr/>
        <a:lstStyle/>
        <a:p>
          <a:r>
            <a:rPr lang="ru-RU" sz="1600" b="1" dirty="0">
              <a:latin typeface="Times New Roman" pitchFamily="18" charset="0"/>
              <a:cs typeface="Times New Roman" pitchFamily="18" charset="0"/>
            </a:rPr>
            <a:t>Томограф рентгеновский компьютерный </a:t>
          </a:r>
          <a:endParaRPr lang="ru-RU" sz="1600" b="1" dirty="0">
            <a:latin typeface="+mn-lt"/>
          </a:endParaRPr>
        </a:p>
      </dgm:t>
    </dgm:pt>
    <dgm:pt modelId="{EF896248-D9CC-4B82-B41E-743756523CA6}" type="parTrans" cxnId="{FB4BDC31-7386-40F3-9016-53BD7B2CF4B1}">
      <dgm:prSet/>
      <dgm:spPr/>
      <dgm:t>
        <a:bodyPr/>
        <a:lstStyle/>
        <a:p>
          <a:endParaRPr lang="ru-RU"/>
        </a:p>
      </dgm:t>
    </dgm:pt>
    <dgm:pt modelId="{C05AAEA1-F6E8-4343-BB81-86CE9458A0C7}" type="sibTrans" cxnId="{FB4BDC31-7386-40F3-9016-53BD7B2CF4B1}">
      <dgm:prSet/>
      <dgm:spPr/>
      <dgm:t>
        <a:bodyPr/>
        <a:lstStyle/>
        <a:p>
          <a:endParaRPr lang="ru-RU"/>
        </a:p>
      </dgm:t>
    </dgm:pt>
    <dgm:pt modelId="{EAC271E7-9B03-47CB-99A2-861C9A7834B9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Планируется поставка нового в 2024 </a:t>
          </a:r>
          <a:r>
            <a:rPr lang="ru-RU" sz="1600" dirty="0" smtClean="0">
              <a:latin typeface="+mn-lt"/>
            </a:rPr>
            <a:t>году </a:t>
          </a:r>
        </a:p>
        <a:p>
          <a:r>
            <a:rPr lang="ru-RU" sz="1600" dirty="0" smtClean="0">
              <a:latin typeface="+mn-lt"/>
            </a:rPr>
            <a:t>ГП 23</a:t>
          </a:r>
          <a:endParaRPr lang="ru-RU" sz="1600" dirty="0">
            <a:latin typeface="+mn-lt"/>
          </a:endParaRPr>
        </a:p>
      </dgm:t>
    </dgm:pt>
    <dgm:pt modelId="{66674D6A-B783-4D2C-9FE5-71A3DB6D84D2}" type="parTrans" cxnId="{7281EBC6-DA3E-4881-927B-D677E78A8FEE}">
      <dgm:prSet/>
      <dgm:spPr/>
      <dgm:t>
        <a:bodyPr/>
        <a:lstStyle/>
        <a:p>
          <a:endParaRPr lang="ru-RU"/>
        </a:p>
      </dgm:t>
    </dgm:pt>
    <dgm:pt modelId="{D4BCE68D-6360-40D8-970F-1191DE79F8BD}" type="sibTrans" cxnId="{7281EBC6-DA3E-4881-927B-D677E78A8FEE}">
      <dgm:prSet/>
      <dgm:spPr/>
      <dgm:t>
        <a:bodyPr/>
        <a:lstStyle/>
        <a:p>
          <a:endParaRPr lang="ru-RU"/>
        </a:p>
      </dgm:t>
    </dgm:pt>
    <dgm:pt modelId="{6588F395-F563-4623-9490-7BAC3A61ED71}" type="pres">
      <dgm:prSet presAssocID="{B22F6953-8856-4B72-9D2C-BE26EB26A70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820D0580-D3C7-4CC1-8740-F6DA8887C956}" type="pres">
      <dgm:prSet presAssocID="{C73BA508-3704-484C-961A-246686C66CD0}" presName="hierRoot1" presStyleCnt="0"/>
      <dgm:spPr/>
    </dgm:pt>
    <dgm:pt modelId="{E568979B-3836-4274-9907-69C6A99FB302}" type="pres">
      <dgm:prSet presAssocID="{C73BA508-3704-484C-961A-246686C66CD0}" presName="composite" presStyleCnt="0"/>
      <dgm:spPr/>
    </dgm:pt>
    <dgm:pt modelId="{180562A4-6C33-4132-BC02-F6F03F9BCE6E}" type="pres">
      <dgm:prSet presAssocID="{C73BA508-3704-484C-961A-246686C66CD0}" presName="background" presStyleLbl="node0" presStyleIdx="0" presStyleCnt="1"/>
      <dgm:spPr/>
    </dgm:pt>
    <dgm:pt modelId="{699FE66D-C9AA-428F-B000-0C1F17968568}" type="pres">
      <dgm:prSet presAssocID="{C73BA508-3704-484C-961A-246686C66CD0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EC8EC22-F6E0-44D4-9129-466ADBF62D22}" type="pres">
      <dgm:prSet presAssocID="{C73BA508-3704-484C-961A-246686C66CD0}" presName="hierChild2" presStyleCnt="0"/>
      <dgm:spPr/>
    </dgm:pt>
    <dgm:pt modelId="{437F6389-471D-45F7-82C3-3F8E957B4962}" type="pres">
      <dgm:prSet presAssocID="{66674D6A-B783-4D2C-9FE5-71A3DB6D84D2}" presName="Name10" presStyleLbl="parChTrans1D2" presStyleIdx="0" presStyleCnt="1"/>
      <dgm:spPr/>
      <dgm:t>
        <a:bodyPr/>
        <a:lstStyle/>
        <a:p>
          <a:endParaRPr lang="ru-RU"/>
        </a:p>
      </dgm:t>
    </dgm:pt>
    <dgm:pt modelId="{91CCFBFD-1593-403C-A4C9-5725043FF758}" type="pres">
      <dgm:prSet presAssocID="{EAC271E7-9B03-47CB-99A2-861C9A7834B9}" presName="hierRoot2" presStyleCnt="0"/>
      <dgm:spPr/>
    </dgm:pt>
    <dgm:pt modelId="{AE05D331-BEAA-4799-98BD-A8EF2F34F999}" type="pres">
      <dgm:prSet presAssocID="{EAC271E7-9B03-47CB-99A2-861C9A7834B9}" presName="composite2" presStyleCnt="0"/>
      <dgm:spPr/>
    </dgm:pt>
    <dgm:pt modelId="{9820F77B-B284-4600-A22B-D46EA18F7297}" type="pres">
      <dgm:prSet presAssocID="{EAC271E7-9B03-47CB-99A2-861C9A7834B9}" presName="background2" presStyleLbl="node2" presStyleIdx="0" presStyleCnt="1"/>
      <dgm:spPr/>
    </dgm:pt>
    <dgm:pt modelId="{7E0F20C8-B6C6-406D-94E5-72604AD3D4AF}" type="pres">
      <dgm:prSet presAssocID="{EAC271E7-9B03-47CB-99A2-861C9A7834B9}" presName="text2" presStyleLbl="fgAcc2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030BAD0-1935-4401-9974-BC8C5891B907}" type="pres">
      <dgm:prSet presAssocID="{EAC271E7-9B03-47CB-99A2-861C9A7834B9}" presName="hierChild3" presStyleCnt="0"/>
      <dgm:spPr/>
    </dgm:pt>
  </dgm:ptLst>
  <dgm:cxnLst>
    <dgm:cxn modelId="{3BD1B122-E9D6-4C34-8F9D-89EFB15E815F}" type="presOf" srcId="{66674D6A-B783-4D2C-9FE5-71A3DB6D84D2}" destId="{437F6389-471D-45F7-82C3-3F8E957B4962}" srcOrd="0" destOrd="0" presId="urn:microsoft.com/office/officeart/2005/8/layout/hierarchy1"/>
    <dgm:cxn modelId="{FB4BDC31-7386-40F3-9016-53BD7B2CF4B1}" srcId="{B22F6953-8856-4B72-9D2C-BE26EB26A700}" destId="{C73BA508-3704-484C-961A-246686C66CD0}" srcOrd="0" destOrd="0" parTransId="{EF896248-D9CC-4B82-B41E-743756523CA6}" sibTransId="{C05AAEA1-F6E8-4343-BB81-86CE9458A0C7}"/>
    <dgm:cxn modelId="{1288A215-0E28-4816-A6F7-1268EFB07CFA}" type="presOf" srcId="{EAC271E7-9B03-47CB-99A2-861C9A7834B9}" destId="{7E0F20C8-B6C6-406D-94E5-72604AD3D4AF}" srcOrd="0" destOrd="0" presId="urn:microsoft.com/office/officeart/2005/8/layout/hierarchy1"/>
    <dgm:cxn modelId="{0193C150-4CA4-410A-9EDD-92592C9CD999}" type="presOf" srcId="{C73BA508-3704-484C-961A-246686C66CD0}" destId="{699FE66D-C9AA-428F-B000-0C1F17968568}" srcOrd="0" destOrd="0" presId="urn:microsoft.com/office/officeart/2005/8/layout/hierarchy1"/>
    <dgm:cxn modelId="{7281EBC6-DA3E-4881-927B-D677E78A8FEE}" srcId="{C73BA508-3704-484C-961A-246686C66CD0}" destId="{EAC271E7-9B03-47CB-99A2-861C9A7834B9}" srcOrd="0" destOrd="0" parTransId="{66674D6A-B783-4D2C-9FE5-71A3DB6D84D2}" sibTransId="{D4BCE68D-6360-40D8-970F-1191DE79F8BD}"/>
    <dgm:cxn modelId="{0870EA3F-7A3D-4144-BE7F-F5ED17C6463D}" type="presOf" srcId="{B22F6953-8856-4B72-9D2C-BE26EB26A700}" destId="{6588F395-F563-4623-9490-7BAC3A61ED71}" srcOrd="0" destOrd="0" presId="urn:microsoft.com/office/officeart/2005/8/layout/hierarchy1"/>
    <dgm:cxn modelId="{33761141-D267-4246-B7EA-7CEDCAFD109A}" type="presParOf" srcId="{6588F395-F563-4623-9490-7BAC3A61ED71}" destId="{820D0580-D3C7-4CC1-8740-F6DA8887C956}" srcOrd="0" destOrd="0" presId="urn:microsoft.com/office/officeart/2005/8/layout/hierarchy1"/>
    <dgm:cxn modelId="{065519F5-EA10-45B9-954D-3FDB22F5D6F2}" type="presParOf" srcId="{820D0580-D3C7-4CC1-8740-F6DA8887C956}" destId="{E568979B-3836-4274-9907-69C6A99FB302}" srcOrd="0" destOrd="0" presId="urn:microsoft.com/office/officeart/2005/8/layout/hierarchy1"/>
    <dgm:cxn modelId="{D7ABCAEF-5092-4D23-9BA6-55777A7FEE3F}" type="presParOf" srcId="{E568979B-3836-4274-9907-69C6A99FB302}" destId="{180562A4-6C33-4132-BC02-F6F03F9BCE6E}" srcOrd="0" destOrd="0" presId="urn:microsoft.com/office/officeart/2005/8/layout/hierarchy1"/>
    <dgm:cxn modelId="{6DBA48C9-664A-4545-8B0D-8E28D3DC90AA}" type="presParOf" srcId="{E568979B-3836-4274-9907-69C6A99FB302}" destId="{699FE66D-C9AA-428F-B000-0C1F17968568}" srcOrd="1" destOrd="0" presId="urn:microsoft.com/office/officeart/2005/8/layout/hierarchy1"/>
    <dgm:cxn modelId="{DBB140CF-DBD5-4F9A-9CF4-C25F9FD82FA5}" type="presParOf" srcId="{820D0580-D3C7-4CC1-8740-F6DA8887C956}" destId="{6EC8EC22-F6E0-44D4-9129-466ADBF62D22}" srcOrd="1" destOrd="0" presId="urn:microsoft.com/office/officeart/2005/8/layout/hierarchy1"/>
    <dgm:cxn modelId="{DBA44B43-DF64-47FE-B254-B7AA7D6B68F5}" type="presParOf" srcId="{6EC8EC22-F6E0-44D4-9129-466ADBF62D22}" destId="{437F6389-471D-45F7-82C3-3F8E957B4962}" srcOrd="0" destOrd="0" presId="urn:microsoft.com/office/officeart/2005/8/layout/hierarchy1"/>
    <dgm:cxn modelId="{8910612E-98DD-4E3B-A352-871BE3556AB7}" type="presParOf" srcId="{6EC8EC22-F6E0-44D4-9129-466ADBF62D22}" destId="{91CCFBFD-1593-403C-A4C9-5725043FF758}" srcOrd="1" destOrd="0" presId="urn:microsoft.com/office/officeart/2005/8/layout/hierarchy1"/>
    <dgm:cxn modelId="{5ABF0C3C-18E4-49FF-99F3-01282097DE7C}" type="presParOf" srcId="{91CCFBFD-1593-403C-A4C9-5725043FF758}" destId="{AE05D331-BEAA-4799-98BD-A8EF2F34F999}" srcOrd="0" destOrd="0" presId="urn:microsoft.com/office/officeart/2005/8/layout/hierarchy1"/>
    <dgm:cxn modelId="{330A12D9-60FF-4C61-B361-CA9DA9093D62}" type="presParOf" srcId="{AE05D331-BEAA-4799-98BD-A8EF2F34F999}" destId="{9820F77B-B284-4600-A22B-D46EA18F7297}" srcOrd="0" destOrd="0" presId="urn:microsoft.com/office/officeart/2005/8/layout/hierarchy1"/>
    <dgm:cxn modelId="{71219F0C-D7C7-4141-9B75-4DD5F70BF352}" type="presParOf" srcId="{AE05D331-BEAA-4799-98BD-A8EF2F34F999}" destId="{7E0F20C8-B6C6-406D-94E5-72604AD3D4AF}" srcOrd="1" destOrd="0" presId="urn:microsoft.com/office/officeart/2005/8/layout/hierarchy1"/>
    <dgm:cxn modelId="{7D8D30AA-599E-45AC-9DCD-FDA3D3455D6F}" type="presParOf" srcId="{91CCFBFD-1593-403C-A4C9-5725043FF758}" destId="{D030BAD0-1935-4401-9974-BC8C5891B90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239F93-E0E5-4433-874B-AC76982C39A5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D88C24-7EB0-4D1E-86D5-5BB5D7CE91CD}">
      <dgm:prSet phldrT="[Текст]" custT="1"/>
      <dgm:spPr/>
      <dgm:t>
        <a:bodyPr/>
        <a:lstStyle/>
        <a:p>
          <a:r>
            <a:rPr lang="ru-RU" sz="1600" dirty="0" smtClean="0"/>
            <a:t>Планируется </a:t>
          </a:r>
          <a:r>
            <a:rPr lang="ru-RU" sz="1600" dirty="0"/>
            <a:t>поставка нового в 2024 </a:t>
          </a:r>
          <a:r>
            <a:rPr lang="ru-RU" sz="1600" dirty="0" smtClean="0"/>
            <a:t>году </a:t>
          </a:r>
        </a:p>
        <a:p>
          <a:r>
            <a:rPr lang="ru-RU" sz="1600" dirty="0" smtClean="0"/>
            <a:t>ГП 23</a:t>
          </a:r>
          <a:endParaRPr lang="ru-RU" sz="1600" dirty="0">
            <a:latin typeface="+mn-lt"/>
          </a:endParaRPr>
        </a:p>
      </dgm:t>
    </dgm:pt>
    <dgm:pt modelId="{200F7CCE-83A4-47CB-B4FD-28DEF4C7EC33}" type="parTrans" cxnId="{345011C9-B4BF-4832-9599-FC68D83CBAFE}">
      <dgm:prSet/>
      <dgm:spPr/>
      <dgm:t>
        <a:bodyPr/>
        <a:lstStyle/>
        <a:p>
          <a:endParaRPr lang="ru-RU"/>
        </a:p>
      </dgm:t>
    </dgm:pt>
    <dgm:pt modelId="{1CEC7D75-A01F-4654-BC9F-406C376EE7A3}" type="sibTrans" cxnId="{345011C9-B4BF-4832-9599-FC68D83CBAFE}">
      <dgm:prSet/>
      <dgm:spPr/>
      <dgm:t>
        <a:bodyPr/>
        <a:lstStyle/>
        <a:p>
          <a:endParaRPr lang="ru-RU"/>
        </a:p>
      </dgm:t>
    </dgm:pt>
    <dgm:pt modelId="{9872BC5C-3CE4-4095-8D5E-7DA69AB542C0}">
      <dgm:prSet/>
      <dgm:spPr/>
      <dgm:t>
        <a:bodyPr/>
        <a:lstStyle/>
        <a:p>
          <a:r>
            <a:rPr lang="ru-RU" dirty="0" smtClean="0"/>
            <a:t>Денситометр</a:t>
          </a:r>
          <a:endParaRPr lang="ru-RU" dirty="0"/>
        </a:p>
      </dgm:t>
    </dgm:pt>
    <dgm:pt modelId="{E87B4A8D-71A3-4CE6-B8E3-0122A625093B}" type="parTrans" cxnId="{95EF597D-3475-4B2F-B466-760F6F73C951}">
      <dgm:prSet/>
      <dgm:spPr/>
      <dgm:t>
        <a:bodyPr/>
        <a:lstStyle/>
        <a:p>
          <a:endParaRPr lang="ru-RU"/>
        </a:p>
      </dgm:t>
    </dgm:pt>
    <dgm:pt modelId="{AE0478FE-0738-4243-B4F0-EDE032099A24}" type="sibTrans" cxnId="{95EF597D-3475-4B2F-B466-760F6F73C951}">
      <dgm:prSet/>
      <dgm:spPr/>
      <dgm:t>
        <a:bodyPr/>
        <a:lstStyle/>
        <a:p>
          <a:endParaRPr lang="ru-RU"/>
        </a:p>
      </dgm:t>
    </dgm:pt>
    <dgm:pt modelId="{91A75ECA-0281-4A67-8E0D-5138C4AB82E6}" type="pres">
      <dgm:prSet presAssocID="{96239F93-E0E5-4433-874B-AC76982C39A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6131376-11B5-4BA9-9DE5-50E901F376E1}" type="pres">
      <dgm:prSet presAssocID="{9872BC5C-3CE4-4095-8D5E-7DA69AB542C0}" presName="hierRoot1" presStyleCnt="0"/>
      <dgm:spPr/>
    </dgm:pt>
    <dgm:pt modelId="{328F837A-FFC8-4C41-8A78-446A9991A91D}" type="pres">
      <dgm:prSet presAssocID="{9872BC5C-3CE4-4095-8D5E-7DA69AB542C0}" presName="composite" presStyleCnt="0"/>
      <dgm:spPr/>
    </dgm:pt>
    <dgm:pt modelId="{2AFDACB3-824D-48AE-AFCA-BBCACCE10AF6}" type="pres">
      <dgm:prSet presAssocID="{9872BC5C-3CE4-4095-8D5E-7DA69AB542C0}" presName="background" presStyleLbl="node0" presStyleIdx="0" presStyleCnt="2"/>
      <dgm:spPr/>
    </dgm:pt>
    <dgm:pt modelId="{74519D6D-0B72-4E61-BDEB-93D2FAC587DE}" type="pres">
      <dgm:prSet presAssocID="{9872BC5C-3CE4-4095-8D5E-7DA69AB542C0}" presName="text" presStyleLbl="fgAcc0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F74EFF1-9E51-4ACA-B069-8E5F174DF7EE}" type="pres">
      <dgm:prSet presAssocID="{9872BC5C-3CE4-4095-8D5E-7DA69AB542C0}" presName="hierChild2" presStyleCnt="0"/>
      <dgm:spPr/>
    </dgm:pt>
    <dgm:pt modelId="{6520A54E-0B3D-4C15-9A11-EA966B3D6B0A}" type="pres">
      <dgm:prSet presAssocID="{22D88C24-7EB0-4D1E-86D5-5BB5D7CE91CD}" presName="hierRoot1" presStyleCnt="0"/>
      <dgm:spPr/>
    </dgm:pt>
    <dgm:pt modelId="{992FEF29-9193-44CB-8E6C-351A7D7E5594}" type="pres">
      <dgm:prSet presAssocID="{22D88C24-7EB0-4D1E-86D5-5BB5D7CE91CD}" presName="composite" presStyleCnt="0"/>
      <dgm:spPr/>
    </dgm:pt>
    <dgm:pt modelId="{EB1D81C6-CC41-4327-963D-2095CF5D8D69}" type="pres">
      <dgm:prSet presAssocID="{22D88C24-7EB0-4D1E-86D5-5BB5D7CE91CD}" presName="background" presStyleLbl="node0" presStyleIdx="1" presStyleCnt="2"/>
      <dgm:spPr/>
    </dgm:pt>
    <dgm:pt modelId="{72F4EB60-EF60-4B53-857A-045665A7C61C}" type="pres">
      <dgm:prSet presAssocID="{22D88C24-7EB0-4D1E-86D5-5BB5D7CE91CD}" presName="text" presStyleLbl="fgAcc0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D0049F6-CB59-4EE2-A65A-7E34D8A63DE6}" type="pres">
      <dgm:prSet presAssocID="{22D88C24-7EB0-4D1E-86D5-5BB5D7CE91CD}" presName="hierChild2" presStyleCnt="0"/>
      <dgm:spPr/>
    </dgm:pt>
  </dgm:ptLst>
  <dgm:cxnLst>
    <dgm:cxn modelId="{4811758F-248D-4E2F-ACDB-AA5FFCD6C86D}" type="presOf" srcId="{9872BC5C-3CE4-4095-8D5E-7DA69AB542C0}" destId="{74519D6D-0B72-4E61-BDEB-93D2FAC587DE}" srcOrd="0" destOrd="0" presId="urn:microsoft.com/office/officeart/2005/8/layout/hierarchy1"/>
    <dgm:cxn modelId="{A784CF6E-0C80-4258-84D5-9B498C1C4A7D}" type="presOf" srcId="{96239F93-E0E5-4433-874B-AC76982C39A5}" destId="{91A75ECA-0281-4A67-8E0D-5138C4AB82E6}" srcOrd="0" destOrd="0" presId="urn:microsoft.com/office/officeart/2005/8/layout/hierarchy1"/>
    <dgm:cxn modelId="{9876E6F6-B532-4A04-A173-F9DD99914C2D}" type="presOf" srcId="{22D88C24-7EB0-4D1E-86D5-5BB5D7CE91CD}" destId="{72F4EB60-EF60-4B53-857A-045665A7C61C}" srcOrd="0" destOrd="0" presId="urn:microsoft.com/office/officeart/2005/8/layout/hierarchy1"/>
    <dgm:cxn modelId="{95EF597D-3475-4B2F-B466-760F6F73C951}" srcId="{96239F93-E0E5-4433-874B-AC76982C39A5}" destId="{9872BC5C-3CE4-4095-8D5E-7DA69AB542C0}" srcOrd="0" destOrd="0" parTransId="{E87B4A8D-71A3-4CE6-B8E3-0122A625093B}" sibTransId="{AE0478FE-0738-4243-B4F0-EDE032099A24}"/>
    <dgm:cxn modelId="{345011C9-B4BF-4832-9599-FC68D83CBAFE}" srcId="{96239F93-E0E5-4433-874B-AC76982C39A5}" destId="{22D88C24-7EB0-4D1E-86D5-5BB5D7CE91CD}" srcOrd="1" destOrd="0" parTransId="{200F7CCE-83A4-47CB-B4FD-28DEF4C7EC33}" sibTransId="{1CEC7D75-A01F-4654-BC9F-406C376EE7A3}"/>
    <dgm:cxn modelId="{08C2CC97-7369-4254-A1A3-C88639EB17F8}" type="presParOf" srcId="{91A75ECA-0281-4A67-8E0D-5138C4AB82E6}" destId="{C6131376-11B5-4BA9-9DE5-50E901F376E1}" srcOrd="0" destOrd="0" presId="urn:microsoft.com/office/officeart/2005/8/layout/hierarchy1"/>
    <dgm:cxn modelId="{00868787-A250-4559-992D-182A6623AC5F}" type="presParOf" srcId="{C6131376-11B5-4BA9-9DE5-50E901F376E1}" destId="{328F837A-FFC8-4C41-8A78-446A9991A91D}" srcOrd="0" destOrd="0" presId="urn:microsoft.com/office/officeart/2005/8/layout/hierarchy1"/>
    <dgm:cxn modelId="{28211531-4E06-4698-B14E-264C694BF53D}" type="presParOf" srcId="{328F837A-FFC8-4C41-8A78-446A9991A91D}" destId="{2AFDACB3-824D-48AE-AFCA-BBCACCE10AF6}" srcOrd="0" destOrd="0" presId="urn:microsoft.com/office/officeart/2005/8/layout/hierarchy1"/>
    <dgm:cxn modelId="{DDEB3470-380A-4E64-B87D-586064E85329}" type="presParOf" srcId="{328F837A-FFC8-4C41-8A78-446A9991A91D}" destId="{74519D6D-0B72-4E61-BDEB-93D2FAC587DE}" srcOrd="1" destOrd="0" presId="urn:microsoft.com/office/officeart/2005/8/layout/hierarchy1"/>
    <dgm:cxn modelId="{D4971D01-F59A-43EC-B4C7-5D707AF10FF6}" type="presParOf" srcId="{C6131376-11B5-4BA9-9DE5-50E901F376E1}" destId="{EF74EFF1-9E51-4ACA-B069-8E5F174DF7EE}" srcOrd="1" destOrd="0" presId="urn:microsoft.com/office/officeart/2005/8/layout/hierarchy1"/>
    <dgm:cxn modelId="{5D8FD5AE-BD06-40FD-8C72-85F02FB0D90D}" type="presParOf" srcId="{91A75ECA-0281-4A67-8E0D-5138C4AB82E6}" destId="{6520A54E-0B3D-4C15-9A11-EA966B3D6B0A}" srcOrd="1" destOrd="0" presId="urn:microsoft.com/office/officeart/2005/8/layout/hierarchy1"/>
    <dgm:cxn modelId="{39996857-0EE1-4510-B33A-2CD3FF9EF829}" type="presParOf" srcId="{6520A54E-0B3D-4C15-9A11-EA966B3D6B0A}" destId="{992FEF29-9193-44CB-8E6C-351A7D7E5594}" srcOrd="0" destOrd="0" presId="urn:microsoft.com/office/officeart/2005/8/layout/hierarchy1"/>
    <dgm:cxn modelId="{98DD7287-06DB-4EA1-8FDD-F0CECBFC434F}" type="presParOf" srcId="{992FEF29-9193-44CB-8E6C-351A7D7E5594}" destId="{EB1D81C6-CC41-4327-963D-2095CF5D8D69}" srcOrd="0" destOrd="0" presId="urn:microsoft.com/office/officeart/2005/8/layout/hierarchy1"/>
    <dgm:cxn modelId="{37493037-8BDC-49CD-A09E-4ECC91147252}" type="presParOf" srcId="{992FEF29-9193-44CB-8E6C-351A7D7E5594}" destId="{72F4EB60-EF60-4B53-857A-045665A7C61C}" srcOrd="1" destOrd="0" presId="urn:microsoft.com/office/officeart/2005/8/layout/hierarchy1"/>
    <dgm:cxn modelId="{7EEBB3A6-753D-42A8-8117-F812985B86DF}" type="presParOf" srcId="{6520A54E-0B3D-4C15-9A11-EA966B3D6B0A}" destId="{ED0049F6-CB59-4EE2-A65A-7E34D8A63DE6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239F93-E0E5-4433-874B-AC76982C39A5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D88C24-7EB0-4D1E-86D5-5BB5D7CE91CD}">
      <dgm:prSet phldrT="[Текст]" custT="1"/>
      <dgm:spPr/>
      <dgm:t>
        <a:bodyPr/>
        <a:lstStyle/>
        <a:p>
          <a:r>
            <a:rPr lang="ru-RU" sz="1600" dirty="0" smtClean="0"/>
            <a:t>ГП 23</a:t>
          </a:r>
        </a:p>
        <a:p>
          <a:r>
            <a:rPr lang="ru-RU" sz="1600" dirty="0" smtClean="0">
              <a:latin typeface="+mn-lt"/>
            </a:rPr>
            <a:t>филиал 3</a:t>
          </a:r>
          <a:endParaRPr lang="ru-RU" sz="1600" dirty="0">
            <a:latin typeface="+mn-lt"/>
          </a:endParaRPr>
        </a:p>
      </dgm:t>
    </dgm:pt>
    <dgm:pt modelId="{200F7CCE-83A4-47CB-B4FD-28DEF4C7EC33}" type="parTrans" cxnId="{345011C9-B4BF-4832-9599-FC68D83CBAFE}">
      <dgm:prSet/>
      <dgm:spPr/>
      <dgm:t>
        <a:bodyPr/>
        <a:lstStyle/>
        <a:p>
          <a:endParaRPr lang="ru-RU"/>
        </a:p>
      </dgm:t>
    </dgm:pt>
    <dgm:pt modelId="{1CEC7D75-A01F-4654-BC9F-406C376EE7A3}" type="sibTrans" cxnId="{345011C9-B4BF-4832-9599-FC68D83CBAFE}">
      <dgm:prSet/>
      <dgm:spPr/>
      <dgm:t>
        <a:bodyPr/>
        <a:lstStyle/>
        <a:p>
          <a:endParaRPr lang="ru-RU"/>
        </a:p>
      </dgm:t>
    </dgm:pt>
    <dgm:pt modelId="{9872BC5C-3CE4-4095-8D5E-7DA69AB542C0}">
      <dgm:prSet/>
      <dgm:spPr/>
      <dgm:t>
        <a:bodyPr/>
        <a:lstStyle/>
        <a:p>
          <a:r>
            <a:rPr lang="ru-RU" dirty="0" smtClean="0"/>
            <a:t>Маммограф</a:t>
          </a:r>
          <a:endParaRPr lang="ru-RU" dirty="0"/>
        </a:p>
      </dgm:t>
    </dgm:pt>
    <dgm:pt modelId="{E87B4A8D-71A3-4CE6-B8E3-0122A625093B}" type="parTrans" cxnId="{95EF597D-3475-4B2F-B466-760F6F73C951}">
      <dgm:prSet/>
      <dgm:spPr/>
      <dgm:t>
        <a:bodyPr/>
        <a:lstStyle/>
        <a:p>
          <a:endParaRPr lang="ru-RU"/>
        </a:p>
      </dgm:t>
    </dgm:pt>
    <dgm:pt modelId="{AE0478FE-0738-4243-B4F0-EDE032099A24}" type="sibTrans" cxnId="{95EF597D-3475-4B2F-B466-760F6F73C951}">
      <dgm:prSet/>
      <dgm:spPr/>
      <dgm:t>
        <a:bodyPr/>
        <a:lstStyle/>
        <a:p>
          <a:endParaRPr lang="ru-RU"/>
        </a:p>
      </dgm:t>
    </dgm:pt>
    <dgm:pt modelId="{91A75ECA-0281-4A67-8E0D-5138C4AB82E6}" type="pres">
      <dgm:prSet presAssocID="{96239F93-E0E5-4433-874B-AC76982C39A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6131376-11B5-4BA9-9DE5-50E901F376E1}" type="pres">
      <dgm:prSet presAssocID="{9872BC5C-3CE4-4095-8D5E-7DA69AB542C0}" presName="hierRoot1" presStyleCnt="0"/>
      <dgm:spPr/>
    </dgm:pt>
    <dgm:pt modelId="{328F837A-FFC8-4C41-8A78-446A9991A91D}" type="pres">
      <dgm:prSet presAssocID="{9872BC5C-3CE4-4095-8D5E-7DA69AB542C0}" presName="composite" presStyleCnt="0"/>
      <dgm:spPr/>
    </dgm:pt>
    <dgm:pt modelId="{2AFDACB3-824D-48AE-AFCA-BBCACCE10AF6}" type="pres">
      <dgm:prSet presAssocID="{9872BC5C-3CE4-4095-8D5E-7DA69AB542C0}" presName="background" presStyleLbl="node0" presStyleIdx="0" presStyleCnt="2"/>
      <dgm:spPr/>
    </dgm:pt>
    <dgm:pt modelId="{74519D6D-0B72-4E61-BDEB-93D2FAC587DE}" type="pres">
      <dgm:prSet presAssocID="{9872BC5C-3CE4-4095-8D5E-7DA69AB542C0}" presName="text" presStyleLbl="fgAcc0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F74EFF1-9E51-4ACA-B069-8E5F174DF7EE}" type="pres">
      <dgm:prSet presAssocID="{9872BC5C-3CE4-4095-8D5E-7DA69AB542C0}" presName="hierChild2" presStyleCnt="0"/>
      <dgm:spPr/>
    </dgm:pt>
    <dgm:pt modelId="{6520A54E-0B3D-4C15-9A11-EA966B3D6B0A}" type="pres">
      <dgm:prSet presAssocID="{22D88C24-7EB0-4D1E-86D5-5BB5D7CE91CD}" presName="hierRoot1" presStyleCnt="0"/>
      <dgm:spPr/>
    </dgm:pt>
    <dgm:pt modelId="{992FEF29-9193-44CB-8E6C-351A7D7E5594}" type="pres">
      <dgm:prSet presAssocID="{22D88C24-7EB0-4D1E-86D5-5BB5D7CE91CD}" presName="composite" presStyleCnt="0"/>
      <dgm:spPr/>
    </dgm:pt>
    <dgm:pt modelId="{EB1D81C6-CC41-4327-963D-2095CF5D8D69}" type="pres">
      <dgm:prSet presAssocID="{22D88C24-7EB0-4D1E-86D5-5BB5D7CE91CD}" presName="background" presStyleLbl="node0" presStyleIdx="1" presStyleCnt="2"/>
      <dgm:spPr/>
    </dgm:pt>
    <dgm:pt modelId="{72F4EB60-EF60-4B53-857A-045665A7C61C}" type="pres">
      <dgm:prSet presAssocID="{22D88C24-7EB0-4D1E-86D5-5BB5D7CE91CD}" presName="text" presStyleLbl="fgAcc0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D0049F6-CB59-4EE2-A65A-7E34D8A63DE6}" type="pres">
      <dgm:prSet presAssocID="{22D88C24-7EB0-4D1E-86D5-5BB5D7CE91CD}" presName="hierChild2" presStyleCnt="0"/>
      <dgm:spPr/>
    </dgm:pt>
  </dgm:ptLst>
  <dgm:cxnLst>
    <dgm:cxn modelId="{97536B02-46A0-4DBA-BCB6-F53DB1254233}" type="presOf" srcId="{22D88C24-7EB0-4D1E-86D5-5BB5D7CE91CD}" destId="{72F4EB60-EF60-4B53-857A-045665A7C61C}" srcOrd="0" destOrd="0" presId="urn:microsoft.com/office/officeart/2005/8/layout/hierarchy1"/>
    <dgm:cxn modelId="{ABBA1A8C-75BA-47E0-B3A2-D5F85DBFF33A}" type="presOf" srcId="{9872BC5C-3CE4-4095-8D5E-7DA69AB542C0}" destId="{74519D6D-0B72-4E61-BDEB-93D2FAC587DE}" srcOrd="0" destOrd="0" presId="urn:microsoft.com/office/officeart/2005/8/layout/hierarchy1"/>
    <dgm:cxn modelId="{95EF597D-3475-4B2F-B466-760F6F73C951}" srcId="{96239F93-E0E5-4433-874B-AC76982C39A5}" destId="{9872BC5C-3CE4-4095-8D5E-7DA69AB542C0}" srcOrd="0" destOrd="0" parTransId="{E87B4A8D-71A3-4CE6-B8E3-0122A625093B}" sibTransId="{AE0478FE-0738-4243-B4F0-EDE032099A24}"/>
    <dgm:cxn modelId="{345011C9-B4BF-4832-9599-FC68D83CBAFE}" srcId="{96239F93-E0E5-4433-874B-AC76982C39A5}" destId="{22D88C24-7EB0-4D1E-86D5-5BB5D7CE91CD}" srcOrd="1" destOrd="0" parTransId="{200F7CCE-83A4-47CB-B4FD-28DEF4C7EC33}" sibTransId="{1CEC7D75-A01F-4654-BC9F-406C376EE7A3}"/>
    <dgm:cxn modelId="{EE9CECE6-329D-4F0E-AD1C-D3296D27AFEA}" type="presOf" srcId="{96239F93-E0E5-4433-874B-AC76982C39A5}" destId="{91A75ECA-0281-4A67-8E0D-5138C4AB82E6}" srcOrd="0" destOrd="0" presId="urn:microsoft.com/office/officeart/2005/8/layout/hierarchy1"/>
    <dgm:cxn modelId="{106E5800-5B4E-424F-BA39-30C22015023D}" type="presParOf" srcId="{91A75ECA-0281-4A67-8E0D-5138C4AB82E6}" destId="{C6131376-11B5-4BA9-9DE5-50E901F376E1}" srcOrd="0" destOrd="0" presId="urn:microsoft.com/office/officeart/2005/8/layout/hierarchy1"/>
    <dgm:cxn modelId="{BEC2F357-7D12-4CD3-8271-5D3DC3A7418B}" type="presParOf" srcId="{C6131376-11B5-4BA9-9DE5-50E901F376E1}" destId="{328F837A-FFC8-4C41-8A78-446A9991A91D}" srcOrd="0" destOrd="0" presId="urn:microsoft.com/office/officeart/2005/8/layout/hierarchy1"/>
    <dgm:cxn modelId="{F36C1974-9B88-458B-B601-CC6C825C74A0}" type="presParOf" srcId="{328F837A-FFC8-4C41-8A78-446A9991A91D}" destId="{2AFDACB3-824D-48AE-AFCA-BBCACCE10AF6}" srcOrd="0" destOrd="0" presId="urn:microsoft.com/office/officeart/2005/8/layout/hierarchy1"/>
    <dgm:cxn modelId="{A7072FF5-A170-47F9-BF92-9A44A30E2ECB}" type="presParOf" srcId="{328F837A-FFC8-4C41-8A78-446A9991A91D}" destId="{74519D6D-0B72-4E61-BDEB-93D2FAC587DE}" srcOrd="1" destOrd="0" presId="urn:microsoft.com/office/officeart/2005/8/layout/hierarchy1"/>
    <dgm:cxn modelId="{DDDD3E89-8249-444D-9B82-17E53B4BDF34}" type="presParOf" srcId="{C6131376-11B5-4BA9-9DE5-50E901F376E1}" destId="{EF74EFF1-9E51-4ACA-B069-8E5F174DF7EE}" srcOrd="1" destOrd="0" presId="urn:microsoft.com/office/officeart/2005/8/layout/hierarchy1"/>
    <dgm:cxn modelId="{57C3B106-20A4-4D31-B651-4B693EE8FA7F}" type="presParOf" srcId="{91A75ECA-0281-4A67-8E0D-5138C4AB82E6}" destId="{6520A54E-0B3D-4C15-9A11-EA966B3D6B0A}" srcOrd="1" destOrd="0" presId="urn:microsoft.com/office/officeart/2005/8/layout/hierarchy1"/>
    <dgm:cxn modelId="{001B3DBF-599A-4EF4-A9DC-DE6D0D6B1D20}" type="presParOf" srcId="{6520A54E-0B3D-4C15-9A11-EA966B3D6B0A}" destId="{992FEF29-9193-44CB-8E6C-351A7D7E5594}" srcOrd="0" destOrd="0" presId="urn:microsoft.com/office/officeart/2005/8/layout/hierarchy1"/>
    <dgm:cxn modelId="{024EF210-9633-46BC-A9EE-7790D24265B7}" type="presParOf" srcId="{992FEF29-9193-44CB-8E6C-351A7D7E5594}" destId="{EB1D81C6-CC41-4327-963D-2095CF5D8D69}" srcOrd="0" destOrd="0" presId="urn:microsoft.com/office/officeart/2005/8/layout/hierarchy1"/>
    <dgm:cxn modelId="{09B676C4-3B94-47CF-B75A-0FD689CD0A31}" type="presParOf" srcId="{992FEF29-9193-44CB-8E6C-351A7D7E5594}" destId="{72F4EB60-EF60-4B53-857A-045665A7C61C}" srcOrd="1" destOrd="0" presId="urn:microsoft.com/office/officeart/2005/8/layout/hierarchy1"/>
    <dgm:cxn modelId="{7C4FABA2-B792-4846-BD5B-6B26405947E3}" type="presParOf" srcId="{6520A54E-0B3D-4C15-9A11-EA966B3D6B0A}" destId="{ED0049F6-CB59-4EE2-A65A-7E34D8A63DE6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F1DED-F1CA-48A1-9AD9-2FAEADDBB900}">
      <dsp:nvSpPr>
        <dsp:cNvPr id="0" name=""/>
        <dsp:cNvSpPr/>
      </dsp:nvSpPr>
      <dsp:spPr>
        <a:xfrm>
          <a:off x="1390807" y="0"/>
          <a:ext cx="4844847" cy="123242"/>
        </a:xfrm>
        <a:prstGeom prst="roundRect">
          <a:avLst>
            <a:gd name="adj" fmla="val 1000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>
            <a:solidFill>
              <a:schemeClr val="tx1"/>
            </a:solidFill>
          </a:endParaRPr>
        </a:p>
      </dsp:txBody>
      <dsp:txXfrm>
        <a:off x="1394417" y="3610"/>
        <a:ext cx="4837627" cy="116022"/>
      </dsp:txXfrm>
    </dsp:sp>
    <dsp:sp modelId="{A7FD24E1-76B3-4573-9B16-0FFB926FCD82}">
      <dsp:nvSpPr>
        <dsp:cNvPr id="0" name=""/>
        <dsp:cNvSpPr/>
      </dsp:nvSpPr>
      <dsp:spPr>
        <a:xfrm>
          <a:off x="406716" y="3489696"/>
          <a:ext cx="2335592" cy="1820665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FC349F7-F353-4E57-A67D-3EC815E78E7C}">
      <dsp:nvSpPr>
        <dsp:cNvPr id="0" name=""/>
        <dsp:cNvSpPr/>
      </dsp:nvSpPr>
      <dsp:spPr>
        <a:xfrm>
          <a:off x="688305" y="322723"/>
          <a:ext cx="7727551" cy="3924411"/>
        </a:xfrm>
        <a:prstGeom prst="roundRect">
          <a:avLst>
            <a:gd name="adj" fmla="val 16670"/>
          </a:avLst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ГБУЗ «ГП №23 ДЗМ» -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является амбулаторным центром смешанного типа, в состав которого входят :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ГБУЗ «ГП №23 ДЗМ» - головное здание,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1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2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3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4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5 ( взрослое и детское население)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>
            <a:solidFill>
              <a:schemeClr val="tx1"/>
            </a:solidFill>
          </a:endParaRPr>
        </a:p>
      </dsp:txBody>
      <dsp:txXfrm>
        <a:off x="879913" y="514331"/>
        <a:ext cx="7344335" cy="3541195"/>
      </dsp:txXfrm>
    </dsp:sp>
    <dsp:sp modelId="{667C338E-6341-4D05-9E2E-37F6F1437532}">
      <dsp:nvSpPr>
        <dsp:cNvPr id="0" name=""/>
        <dsp:cNvSpPr/>
      </dsp:nvSpPr>
      <dsp:spPr>
        <a:xfrm>
          <a:off x="0" y="4805548"/>
          <a:ext cx="871191" cy="810614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48BA013-E048-469A-9EF5-3C3BD28FBB58}">
      <dsp:nvSpPr>
        <dsp:cNvPr id="0" name=""/>
        <dsp:cNvSpPr/>
      </dsp:nvSpPr>
      <dsp:spPr>
        <a:xfrm>
          <a:off x="4095080" y="5337915"/>
          <a:ext cx="4320785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Обслуживаемые районы: 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Выхино-Жулебино, Некрасовка, Рязанский</a:t>
          </a:r>
          <a:r>
            <a:rPr lang="ru-RU" sz="2400" kern="1200" dirty="0"/>
            <a:t>.</a:t>
          </a:r>
        </a:p>
      </dsp:txBody>
      <dsp:txXfrm>
        <a:off x="4148180" y="5391015"/>
        <a:ext cx="4214585" cy="981361"/>
      </dsp:txXfrm>
    </dsp:sp>
    <dsp:sp modelId="{451E1C00-3024-4D4B-92C7-1BA531B0785D}">
      <dsp:nvSpPr>
        <dsp:cNvPr id="0" name=""/>
        <dsp:cNvSpPr/>
      </dsp:nvSpPr>
      <dsp:spPr>
        <a:xfrm>
          <a:off x="0" y="5499679"/>
          <a:ext cx="1087561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3A3F816-B092-41D4-B77D-DFA379F6B9A0}">
      <dsp:nvSpPr>
        <dsp:cNvPr id="0" name=""/>
        <dsp:cNvSpPr/>
      </dsp:nvSpPr>
      <dsp:spPr>
        <a:xfrm>
          <a:off x="230301" y="5499679"/>
          <a:ext cx="3666963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chemeClr val="tx1"/>
              </a:solidFill>
            </a:rPr>
            <a:t>Общая численность прикрепленного населения 299 385</a:t>
          </a:r>
        </a:p>
      </dsp:txBody>
      <dsp:txXfrm>
        <a:off x="283401" y="5552779"/>
        <a:ext cx="3560763" cy="9813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70548</cdr:y>
    </cdr:from>
    <cdr:to>
      <cdr:x>0.28119</cdr:x>
      <cdr:y>0.9125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4123736"/>
          <a:ext cx="3142129" cy="12102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/>
            <a:t>Общее кол-во инвалидов: 9389</a:t>
          </a:r>
        </a:p>
        <a:p xmlns:a="http://schemas.openxmlformats.org/drawingml/2006/main">
          <a:r>
            <a:rPr lang="ru-RU" sz="1400" b="1" dirty="0"/>
            <a:t>	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3234-A357-42BC-8B9B-F5528F60170F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FD6B5-E53E-4852-BE86-2825786AD1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2507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FD6B5-E53E-4852-BE86-2825786AD1D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956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0025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120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0670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8591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546530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0608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2039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20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8351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3"/>
            <a:ext cx="11146662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65720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1127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82984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551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2250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6552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2118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884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775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8BE74-5FAF-4FB6-867F-2430A4F7C291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057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18" Type="http://schemas.openxmlformats.org/officeDocument/2006/relationships/diagramData" Target="../diagrams/data5.xml"/><Relationship Id="rId3" Type="http://schemas.openxmlformats.org/officeDocument/2006/relationships/diagramLayout" Target="../diagrams/layout2.xml"/><Relationship Id="rId21" Type="http://schemas.openxmlformats.org/officeDocument/2006/relationships/diagramColors" Target="../diagrams/colors5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17" Type="http://schemas.openxmlformats.org/officeDocument/2006/relationships/image" Target="../media/image27.jpg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19" Type="http://schemas.openxmlformats.org/officeDocument/2006/relationships/diagramLayout" Target="../diagrams/layout5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Relationship Id="rId22" Type="http://schemas.microsoft.com/office/2007/relationships/diagramDrawing" Target="../diagrams/drawing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jp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2466" y="4730058"/>
            <a:ext cx="3310467" cy="707886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r>
              <a:rPr lang="ru-RU" sz="2000" dirty="0"/>
              <a:t>Главный врач:</a:t>
            </a:r>
          </a:p>
          <a:p>
            <a:r>
              <a:rPr lang="ru-RU" sz="2000" dirty="0"/>
              <a:t>Гордина Ольга Андреевна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587812624"/>
              </p:ext>
            </p:extLst>
          </p:nvPr>
        </p:nvGraphicFramePr>
        <p:xfrm>
          <a:off x="3776134" y="169332"/>
          <a:ext cx="8415866" cy="668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466" y="421341"/>
            <a:ext cx="3986805" cy="3818965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63561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1759"/>
            <a:ext cx="12192000" cy="63942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>
                <a:latin typeface="+mn-lt"/>
                <a:cs typeface="Times New Roman" pitchFamily="18" charset="0"/>
              </a:rPr>
              <a:t>Оснащение</a:t>
            </a:r>
            <a:r>
              <a:rPr lang="ru-RU" sz="3600" b="1" dirty="0">
                <a:latin typeface="+mn-lt"/>
                <a:cs typeface="Times New Roman" pitchFamily="18" charset="0"/>
              </a:rPr>
              <a:t> </a:t>
            </a:r>
            <a:r>
              <a:rPr lang="ru-RU" sz="3600" dirty="0">
                <a:latin typeface="+mn-lt"/>
                <a:cs typeface="Times New Roman" pitchFamily="18" charset="0"/>
              </a:rPr>
              <a:t>оборудованием</a:t>
            </a:r>
            <a:endParaRPr lang="ru-RU" sz="3600" dirty="0">
              <a:latin typeface="+mn-lt"/>
            </a:endParaRPr>
          </a:p>
        </p:txBody>
      </p:sp>
      <p:graphicFrame>
        <p:nvGraphicFramePr>
          <p:cNvPr id="20" name="Объект 1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96995"/>
              </p:ext>
            </p:extLst>
          </p:nvPr>
        </p:nvGraphicFramePr>
        <p:xfrm>
          <a:off x="6812280" y="1182157"/>
          <a:ext cx="6040123" cy="3126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" name="Схема 21"/>
          <p:cNvGraphicFramePr/>
          <p:nvPr>
            <p:extLst>
              <p:ext uri="{D42A27DB-BD31-4B8C-83A1-F6EECF244321}">
                <p14:modId xmlns:p14="http://schemas.microsoft.com/office/powerpoint/2010/main" val="1376454966"/>
              </p:ext>
            </p:extLst>
          </p:nvPr>
        </p:nvGraphicFramePr>
        <p:xfrm>
          <a:off x="127000" y="609596"/>
          <a:ext cx="2204720" cy="44081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1620730099"/>
              </p:ext>
            </p:extLst>
          </p:nvPr>
        </p:nvGraphicFramePr>
        <p:xfrm>
          <a:off x="0" y="4851824"/>
          <a:ext cx="5442616" cy="1503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26" name="Рисунок 25"/>
          <p:cNvPicPr>
            <a:picLocks noChangeAspect="1"/>
          </p:cNvPicPr>
          <p:nvPr/>
        </p:nvPicPr>
        <p:blipFill>
          <a:blip r:embed="rId1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481" y="855131"/>
            <a:ext cx="5309786" cy="3200400"/>
          </a:xfrm>
          <a:prstGeom prst="rect">
            <a:avLst/>
          </a:prstGeom>
        </p:spPr>
      </p:pic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486000877"/>
              </p:ext>
            </p:extLst>
          </p:nvPr>
        </p:nvGraphicFramePr>
        <p:xfrm>
          <a:off x="5627370" y="4752764"/>
          <a:ext cx="5442616" cy="1503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  <p:extLst>
      <p:ext uri="{BB962C8B-B14F-4D97-AF65-F5344CB8AC3E}">
        <p14:creationId xmlns:p14="http://schemas.microsoft.com/office/powerpoint/2010/main" val="1341824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b="1" dirty="0"/>
              <a:t>Рентгенологическое оборудование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257487" y="1431142"/>
              <a:ext cx="1815962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Рентгенологический аппарат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  <a:endParaRPr lang="ru-RU" sz="1300" kern="1200" dirty="0"/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smtClean="0"/>
                <a:t>Цифровой.</a:t>
              </a:r>
              <a:endParaRPr lang="ru-RU" sz="1300" kern="1200" dirty="0"/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 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22609" y="5301330"/>
            <a:ext cx="1672655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Капитальный ремонт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05874" y="5301330"/>
            <a:ext cx="1692877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dirty="0">
              <a:highlight>
                <a:srgbClr val="FFFF00"/>
              </a:highlight>
            </a:endParaRP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Капитальный ремонт</a:t>
            </a:r>
          </a:p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900" kern="1200" dirty="0"/>
          </a:p>
        </p:txBody>
      </p:sp>
      <p:sp>
        <p:nvSpPr>
          <p:cNvPr id="53" name="Полилиния 52"/>
          <p:cNvSpPr/>
          <p:nvPr/>
        </p:nvSpPr>
        <p:spPr>
          <a:xfrm>
            <a:off x="4314527" y="5306313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dirty="0">
              <a:highlight>
                <a:srgbClr val="FFFF00"/>
              </a:highlight>
            </a:endParaRP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/>
              <a:t>Исправно и используется</a:t>
            </a: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dirty="0"/>
          </a:p>
        </p:txBody>
      </p:sp>
      <p:sp>
        <p:nvSpPr>
          <p:cNvPr id="59" name="Полилиния 58"/>
          <p:cNvSpPr/>
          <p:nvPr/>
        </p:nvSpPr>
        <p:spPr>
          <a:xfrm>
            <a:off x="10288052" y="5306314"/>
            <a:ext cx="1690786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A1B7E1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61" name="Стрелка вниз 60"/>
          <p:cNvSpPr/>
          <p:nvPr/>
        </p:nvSpPr>
        <p:spPr>
          <a:xfrm>
            <a:off x="2916445" y="4634396"/>
            <a:ext cx="484632" cy="666576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19242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4261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1129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24149" y="4634396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низ 39"/>
          <p:cNvSpPr/>
          <p:nvPr/>
        </p:nvSpPr>
        <p:spPr>
          <a:xfrm>
            <a:off x="6914428" y="4643568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6278173" y="530133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endParaRPr lang="ru-RU" sz="1200" dirty="0"/>
          </a:p>
        </p:txBody>
      </p:sp>
      <p:sp>
        <p:nvSpPr>
          <p:cNvPr id="41" name="Полилиния 40"/>
          <p:cNvSpPr/>
          <p:nvPr/>
        </p:nvSpPr>
        <p:spPr>
          <a:xfrm>
            <a:off x="8321500" y="5332198"/>
            <a:ext cx="1690786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4575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Флюорографическое оборудование</a:t>
            </a:r>
            <a:endParaRPr lang="ru-RU" b="1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069964" y="1431142"/>
              <a:ext cx="2003486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/>
              <a:r>
                <a:rPr lang="ru-RU" sz="1400" dirty="0"/>
                <a:t>Флюорографический аппарат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 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22610" y="5301330"/>
            <a:ext cx="1672655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Капитальный ремонт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11041" y="530133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Капитальный ремонт</a:t>
            </a:r>
          </a:p>
        </p:txBody>
      </p:sp>
      <p:sp>
        <p:nvSpPr>
          <p:cNvPr id="53" name="Полилиния 52"/>
          <p:cNvSpPr/>
          <p:nvPr/>
        </p:nvSpPr>
        <p:spPr>
          <a:xfrm>
            <a:off x="8353952" y="532160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4387721" y="5313546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endParaRPr lang="ru-RU" sz="1300" kern="1200" dirty="0"/>
          </a:p>
        </p:txBody>
      </p:sp>
      <p:sp>
        <p:nvSpPr>
          <p:cNvPr id="59" name="Полилиния 58"/>
          <p:cNvSpPr/>
          <p:nvPr/>
        </p:nvSpPr>
        <p:spPr>
          <a:xfrm>
            <a:off x="10283205" y="5244006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A1B7E1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61" name="Стрелка вниз 60"/>
          <p:cNvSpPr/>
          <p:nvPr/>
        </p:nvSpPr>
        <p:spPr>
          <a:xfrm>
            <a:off x="2912736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24011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5491" y="4643920"/>
            <a:ext cx="484632" cy="64945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трелка вниз 63"/>
          <p:cNvSpPr/>
          <p:nvPr/>
        </p:nvSpPr>
        <p:spPr>
          <a:xfrm>
            <a:off x="6919396" y="4635970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2667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16306" y="4635970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6370836" y="5321599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</a:p>
        </p:txBody>
      </p:sp>
    </p:spTree>
    <p:extLst>
      <p:ext uri="{BB962C8B-B14F-4D97-AF65-F5344CB8AC3E}">
        <p14:creationId xmlns:p14="http://schemas.microsoft.com/office/powerpoint/2010/main" val="273552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Оборудование УЗИ диагностики</a:t>
            </a:r>
            <a:endParaRPr lang="ru-RU" b="1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181600" y="1431142"/>
              <a:ext cx="1787663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/>
              <a:r>
                <a:rPr lang="ru-RU" sz="1400" dirty="0"/>
                <a:t>УЗИ аппараты </a:t>
              </a:r>
            </a:p>
            <a:p>
              <a:pPr lvl="0"/>
              <a:r>
                <a:rPr lang="ru-RU" sz="1400" dirty="0"/>
                <a:t>Всего: 30</a:t>
              </a:r>
            </a:p>
            <a:p>
              <a:pPr lvl="0"/>
              <a:r>
                <a:rPr lang="ru-RU" sz="1400" dirty="0"/>
                <a:t>Экспертного класса:12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 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31319" y="530133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Капитальный ремонт здания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11041" y="5301330"/>
            <a:ext cx="1684758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FFFF00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Капитальный ремонт здания</a:t>
            </a:r>
          </a:p>
        </p:txBody>
      </p:sp>
      <p:sp>
        <p:nvSpPr>
          <p:cNvPr id="55" name="Полилиния 54"/>
          <p:cNvSpPr/>
          <p:nvPr/>
        </p:nvSpPr>
        <p:spPr>
          <a:xfrm>
            <a:off x="8337384" y="5311195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6 шт.</a:t>
            </a:r>
            <a:endParaRPr lang="ru-RU" sz="1300" kern="1200" dirty="0"/>
          </a:p>
        </p:txBody>
      </p:sp>
      <p:sp>
        <p:nvSpPr>
          <p:cNvPr id="57" name="Полилиния 56"/>
          <p:cNvSpPr/>
          <p:nvPr/>
        </p:nvSpPr>
        <p:spPr>
          <a:xfrm>
            <a:off x="6329158" y="5301323"/>
            <a:ext cx="1687709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4 шт.</a:t>
            </a:r>
          </a:p>
        </p:txBody>
      </p:sp>
      <p:sp>
        <p:nvSpPr>
          <p:cNvPr id="59" name="Полилиния 58"/>
          <p:cNvSpPr/>
          <p:nvPr/>
        </p:nvSpPr>
        <p:spPr>
          <a:xfrm>
            <a:off x="10291128" y="530631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rgbClr val="A1B7E1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16 шт.</a:t>
            </a:r>
            <a:endParaRPr lang="ru-RU" sz="1300" kern="1200" dirty="0"/>
          </a:p>
        </p:txBody>
      </p:sp>
      <p:sp>
        <p:nvSpPr>
          <p:cNvPr id="61" name="Стрелка вниз 60"/>
          <p:cNvSpPr/>
          <p:nvPr/>
        </p:nvSpPr>
        <p:spPr>
          <a:xfrm>
            <a:off x="2912076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05902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5491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трелка вниз 63"/>
          <p:cNvSpPr/>
          <p:nvPr/>
        </p:nvSpPr>
        <p:spPr>
          <a:xfrm>
            <a:off x="6920055" y="4645742"/>
            <a:ext cx="484632" cy="655582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2667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27707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4271913" y="5301324"/>
            <a:ext cx="1687709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4 шт.</a:t>
            </a:r>
          </a:p>
        </p:txBody>
      </p:sp>
    </p:spTree>
    <p:extLst>
      <p:ext uri="{BB962C8B-B14F-4D97-AF65-F5344CB8AC3E}">
        <p14:creationId xmlns:p14="http://schemas.microsoft.com/office/powerpoint/2010/main" val="224801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3597" y="6133226"/>
            <a:ext cx="861748" cy="562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4984596"/>
              </p:ext>
            </p:extLst>
          </p:nvPr>
        </p:nvGraphicFramePr>
        <p:xfrm>
          <a:off x="838200" y="125595"/>
          <a:ext cx="11353800" cy="685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Овал 1"/>
          <p:cNvSpPr/>
          <p:nvPr/>
        </p:nvSpPr>
        <p:spPr>
          <a:xfrm>
            <a:off x="5568778" y="1021492"/>
            <a:ext cx="1318054" cy="5111734"/>
          </a:xfrm>
          <a:prstGeom prst="ellipse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3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693020"/>
            <a:ext cx="11416553" cy="124609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/>
              <a:t>ВЕТЕРАНЫ</a:t>
            </a:r>
            <a:r>
              <a:rPr lang="ru-RU" sz="2800" dirty="0"/>
              <a:t> </a:t>
            </a:r>
            <a:r>
              <a:rPr lang="ru-RU" sz="2800" b="1" dirty="0"/>
              <a:t>ВОВ и лица к ним приравненные</a:t>
            </a:r>
          </a:p>
        </p:txBody>
      </p:sp>
      <p:pic>
        <p:nvPicPr>
          <p:cNvPr id="5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095176"/>
              </p:ext>
            </p:extLst>
          </p:nvPr>
        </p:nvGraphicFramePr>
        <p:xfrm>
          <a:off x="785996" y="1757711"/>
          <a:ext cx="9647791" cy="28720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167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9015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346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Категор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П 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иал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иал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иал 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иал 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иал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 по А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21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Инвалиды Великой Отечественной войны 1941-1945 годов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21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Участники Великой Отечественной войны 1941-1945 годов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027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Вдовы (вдовцы) умерших инвалидов и ветеранов Великой Отечественной войны 1941-1945       годов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027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Лица, награжденные знаком «Жителю блокадного                            Ленинграда»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21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Труженики тыла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204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Бывшие несовершеннолетние узники концлагерей, гетто, других мест принудительного содержания, созданных фашистами и их союзниками в период Второй мировой войны</a:t>
                      </a:r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706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203" y="176462"/>
            <a:ext cx="5136325" cy="660935"/>
          </a:xfrm>
        </p:spPr>
        <p:txBody>
          <a:bodyPr>
            <a:normAutofit fontScale="90000"/>
          </a:bodyPr>
          <a:lstStyle/>
          <a:p>
            <a:r>
              <a:rPr lang="ru-RU" sz="2400" dirty="0"/>
              <a:t>Структура по группам инвалидности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58534"/>
              </p:ext>
            </p:extLst>
          </p:nvPr>
        </p:nvGraphicFramePr>
        <p:xfrm>
          <a:off x="1053567" y="693018"/>
          <a:ext cx="8191559" cy="26481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22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38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44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7226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7226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7226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7226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6194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413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а инвалид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П 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иал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по А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13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алиды </a:t>
                      </a:r>
                      <a:r>
                        <a:rPr lang="en-US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13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алиды </a:t>
                      </a:r>
                      <a:r>
                        <a:rPr lang="en-US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 </a:t>
                      </a:r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13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алиды </a:t>
                      </a:r>
                      <a:r>
                        <a:rPr lang="en-US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13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-инвалид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1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" name="Объект 9">
            <a:extLst>
              <a:ext uri="{FF2B5EF4-FFF2-40B4-BE49-F238E27FC236}">
                <a16:creationId xmlns="" xmlns:a16="http://schemas.microsoft.com/office/drawing/2014/main" id="{5A1BAE19-C5D6-4811-81DE-E53CBFB1B5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460886"/>
              </p:ext>
            </p:extLst>
          </p:nvPr>
        </p:nvGraphicFramePr>
        <p:xfrm>
          <a:off x="2548891" y="3461542"/>
          <a:ext cx="5959842" cy="3396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029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7835" y="842898"/>
            <a:ext cx="8596668" cy="429928"/>
          </a:xfrm>
        </p:spPr>
        <p:txBody>
          <a:bodyPr>
            <a:normAutofit fontScale="90000"/>
          </a:bodyPr>
          <a:lstStyle/>
          <a:p>
            <a:r>
              <a:rPr lang="ru-RU" sz="2400" dirty="0"/>
              <a:t>Анализ выполнения </a:t>
            </a:r>
            <a:r>
              <a:rPr lang="ru-RU" sz="2400" dirty="0" err="1"/>
              <a:t>госзадания</a:t>
            </a:r>
            <a:r>
              <a:rPr lang="ru-RU" sz="2400" dirty="0"/>
              <a:t> за 2023 г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677515"/>
              </p:ext>
            </p:extLst>
          </p:nvPr>
        </p:nvGraphicFramePr>
        <p:xfrm>
          <a:off x="770021" y="1645250"/>
          <a:ext cx="9675705" cy="31634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024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3726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4968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146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Показатели </a:t>
                      </a:r>
                      <a:r>
                        <a:rPr lang="ru-RU" sz="1200" u="none" strike="noStrike" dirty="0" err="1">
                          <a:effectLst/>
                        </a:rPr>
                        <a:t>госзадания</a:t>
                      </a:r>
                      <a:r>
                        <a:rPr lang="ru-RU" sz="1200" u="none" strike="noStrike" dirty="0">
                          <a:effectLst/>
                        </a:rPr>
                        <a:t> за 2023 г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ГП 2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Филиал 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Филиал 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Филиал 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Филиал 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Филиал 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 по АЦ</a:t>
                      </a: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План посещений на 2023 год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2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3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58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8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4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9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9 3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Фактическое количество посещений за 2023 год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90 4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91 86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3 0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64 0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6 6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75 5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 651 6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B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% выполнения план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3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1,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29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31,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8,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3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5,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Из них - план посещений с профилактической целью 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1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0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Фактическое количество посещений с профилактической целью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5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1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09 8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% выполнения пл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1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8,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77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7,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76,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61,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1,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План посещений по </a:t>
                      </a:r>
                      <a:r>
                        <a:rPr lang="ru-RU" sz="1200" u="none" strike="noStrike" dirty="0" err="1">
                          <a:effectLst/>
                        </a:rPr>
                        <a:t>неоложной</a:t>
                      </a:r>
                      <a:r>
                        <a:rPr lang="ru-RU" sz="1200" u="none" strike="noStrike" dirty="0">
                          <a:effectLst/>
                        </a:rPr>
                        <a:t> помощ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 4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4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 97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 0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Фактическое количество посещений по неотложной помощ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9 2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5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1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5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1 9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 6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% выполнения пл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348,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4,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6,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2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3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03,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44,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План обращений по заболеванию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3 4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1 6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3 9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7 6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5 2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2 5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34 4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Фактическое количество обращений по заболеванию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1 6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1 42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6 8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1 61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5 8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35 0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12 5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2907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% выполнения пл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245" marR="8245" marT="82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8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9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86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87,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1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4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4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7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B29B430-4FF9-44D1-A2B9-81829DF59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00277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/>
              <a:t>Профилактическая работа ГБУЗ «ГП № 23 ДЗМ»</a:t>
            </a:r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="" xmlns:a16="http://schemas.microsoft.com/office/drawing/2014/main" id="{6A4D9888-A786-429D-A6D5-AE288601989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7080975"/>
              </p:ext>
            </p:extLst>
          </p:nvPr>
        </p:nvGraphicFramePr>
        <p:xfrm>
          <a:off x="536895" y="813731"/>
          <a:ext cx="10884017" cy="498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80441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6934" y="98611"/>
            <a:ext cx="9743618" cy="1364429"/>
          </a:xfrm>
          <a:solidFill>
            <a:schemeClr val="bg1"/>
          </a:solidFill>
        </p:spPr>
        <p:txBody>
          <a:bodyPr>
            <a:normAutofit/>
          </a:bodyPr>
          <a:lstStyle/>
          <a:p>
            <a:pPr lvl="0" algn="ctr"/>
            <a:r>
              <a:rPr lang="ru-RU" sz="2400" b="1" dirty="0"/>
              <a:t>Летний тест здоровья – проведение диспансеризации в павильоне в парке «Сквер у метро </a:t>
            </a:r>
            <a:r>
              <a:rPr lang="ru-RU" sz="2400" b="1" dirty="0" err="1"/>
              <a:t>Некрасовка</a:t>
            </a:r>
            <a:r>
              <a:rPr lang="ru-RU" sz="2400" b="1" dirty="0"/>
              <a:t>»</a:t>
            </a:r>
            <a:br>
              <a:rPr lang="ru-RU" sz="2400" b="1" dirty="0"/>
            </a:br>
            <a:r>
              <a:rPr lang="ru-RU" sz="2400" b="1" dirty="0"/>
              <a:t>В «Павильоне здоровья»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3" y="1631860"/>
            <a:ext cx="5548790" cy="415292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09000" y="1819175"/>
            <a:ext cx="445025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рошли обследование в «Павильоне</a:t>
            </a:r>
          </a:p>
          <a:p>
            <a:r>
              <a:rPr lang="ru-RU" dirty="0"/>
              <a:t>Здоровья» в 2023 г. </a:t>
            </a:r>
            <a:r>
              <a:rPr lang="ru-RU" dirty="0" smtClean="0"/>
              <a:t>- 6957 </a:t>
            </a:r>
            <a:r>
              <a:rPr lang="ru-RU" dirty="0"/>
              <a:t>человек,</a:t>
            </a:r>
          </a:p>
          <a:p>
            <a:r>
              <a:rPr lang="ru-RU" dirty="0"/>
              <a:t>Из них:</a:t>
            </a:r>
          </a:p>
          <a:p>
            <a:r>
              <a:rPr lang="ru-RU" dirty="0"/>
              <a:t>5067 человек прошли базовый «чек-ап»</a:t>
            </a:r>
          </a:p>
          <a:p>
            <a:r>
              <a:rPr lang="ru-RU" dirty="0"/>
              <a:t>1890 – углубленный «чек-ап» - после </a:t>
            </a:r>
          </a:p>
          <a:p>
            <a:r>
              <a:rPr lang="ru-RU" dirty="0"/>
              <a:t>перенесенного </a:t>
            </a:r>
            <a:r>
              <a:rPr lang="en-US" dirty="0" err="1"/>
              <a:t>Covid</a:t>
            </a:r>
            <a:r>
              <a:rPr lang="ru-RU" dirty="0"/>
              <a:t>-19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353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127" y="0"/>
            <a:ext cx="12342253" cy="718969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62896" y="4670612"/>
            <a:ext cx="1759436" cy="1777640"/>
          </a:xfrm>
          <a:prstGeom prst="rect">
            <a:avLst/>
          </a:prstGeom>
          <a:blipFill rotWithShape="1">
            <a:blip r:embed="rId3"/>
            <a:srcRect/>
            <a:stretch>
              <a:fillRect t="-3036" b="1"/>
            </a:stretch>
          </a:blipFill>
          <a:effectLst>
            <a:outerShdw blurRad="50800" dist="38100" dir="5400000" rotWithShape="0">
              <a:srgbClr val="000000">
                <a:alpha val="35000"/>
              </a:srgbClr>
            </a:outerShdw>
            <a:softEdge rad="63500"/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5" name="Рисунок 1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1280" y="1392168"/>
            <a:ext cx="1984974" cy="144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28571" y="1738648"/>
            <a:ext cx="2022257" cy="114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10" name="TextBox 9"/>
          <p:cNvSpPr txBox="1"/>
          <p:nvPr/>
        </p:nvSpPr>
        <p:spPr>
          <a:xfrm>
            <a:off x="4261280" y="610793"/>
            <a:ext cx="29750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95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5 902,8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35 559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6229" y="44197"/>
            <a:ext cx="29848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68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3 276,0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32 80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617" y="3243101"/>
            <a:ext cx="4614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7030A0"/>
                </a:solidFill>
              </a:rPr>
              <a:t>. Открыт после капитального ремонта 25.09.2023 г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48753" y="326315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2653553" y="326315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8266729" y="569097"/>
            <a:ext cx="297501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16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10 842,4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	Взрослое: 71 374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	Детское: 26 87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628571" y="3540152"/>
            <a:ext cx="29750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00 Площадь – 6 654,5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24 294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22332" y="5321268"/>
            <a:ext cx="29750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0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11 472,5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71 280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44" y="4833481"/>
            <a:ext cx="23450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69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3 236,9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37 20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59885" y="1170352"/>
            <a:ext cx="43058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7030A0"/>
                </a:solidFill>
              </a:rPr>
              <a:t>Открыт после капитального ремонта 18.09.2023 г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216165A-2117-5133-300F-81F5EDDF77FF}"/>
              </a:ext>
            </a:extLst>
          </p:cNvPr>
          <p:cNvSpPr txBox="1"/>
          <p:nvPr/>
        </p:nvSpPr>
        <p:spPr>
          <a:xfrm>
            <a:off x="4172451" y="1456165"/>
            <a:ext cx="399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FF0000"/>
                </a:solidFill>
              </a:rPr>
              <a:t>Закрыто на капитальный ремонт 27.11.2023 г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74760781-AAE4-F801-8782-904B18B591DA}"/>
              </a:ext>
            </a:extLst>
          </p:cNvPr>
          <p:cNvSpPr txBox="1"/>
          <p:nvPr/>
        </p:nvSpPr>
        <p:spPr>
          <a:xfrm>
            <a:off x="4166066" y="4217260"/>
            <a:ext cx="399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FF0000"/>
                </a:solidFill>
              </a:rPr>
              <a:t>Закрыто на капитальный ремонт 25.12.2023 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70EDB37-8691-44F5-9A51-9A4C3E74C3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293" y="5075067"/>
            <a:ext cx="2288092" cy="1029641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1CFA6318-06E6-2EAE-83AC-A4E9AF4428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11" y="1533768"/>
            <a:ext cx="2113373" cy="1166251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921B85D7-A936-D052-4B3B-353C7B9A789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43"/>
          <a:stretch/>
        </p:blipFill>
        <p:spPr>
          <a:xfrm>
            <a:off x="488571" y="3563362"/>
            <a:ext cx="1410789" cy="124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21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C3F7101-26A1-4E7B-8EC1-5D99D1222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5995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/>
              <a:t>Выполнение плана вакцинации в 2023 г.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2353257"/>
              </p:ext>
            </p:extLst>
          </p:nvPr>
        </p:nvGraphicFramePr>
        <p:xfrm>
          <a:off x="495300" y="959090"/>
          <a:ext cx="9380219" cy="485878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1200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927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928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980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7659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3835">
                <a:tc rowSpan="2"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>
                          <a:effectLst/>
                        </a:rPr>
                        <a:t> Вакци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200" u="none" strike="noStrike" dirty="0">
                          <a:effectLst/>
                        </a:rPr>
                        <a:t>Всего по АЦ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35" marR="6235" marT="623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илиал 3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35" marR="6235" marT="623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043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u="none" strike="noStrike" dirty="0">
                          <a:effectLst/>
                        </a:rPr>
                        <a:t>Пла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u="none" strike="noStrike" dirty="0">
                          <a:effectLst/>
                        </a:rPr>
                        <a:t>Выполнен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Выполнено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3911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и ревакцинация против дифтери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2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4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3911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и ревакцинация против столбняк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2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4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911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и ревакцинация против кор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8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9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3911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и ревакцинация против краснух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589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против гепатита В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5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7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20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20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3911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Вакцинация и ревакцинация против гепатита 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1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2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95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Прививки против грипп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25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3916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895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>
                          <a:effectLst/>
                        </a:rPr>
                        <a:t>Прививки против ковид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6235" marR="6235" marT="623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3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473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50784" y="594972"/>
            <a:ext cx="4510263" cy="58513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/>
              <a:t>Вакцинация </a:t>
            </a:r>
            <a:r>
              <a:rPr lang="ru-RU" sz="2800" b="1" dirty="0" smtClean="0"/>
              <a:t>с </a:t>
            </a:r>
            <a:r>
              <a:rPr lang="ru-RU" sz="2800" b="1" dirty="0"/>
              <a:t>участием </a:t>
            </a:r>
            <a:br>
              <a:rPr lang="ru-RU" sz="2800" b="1" dirty="0"/>
            </a:br>
            <a:r>
              <a:rPr lang="ru-RU" sz="2800" b="1" dirty="0"/>
              <a:t>мобильных бригад</a:t>
            </a:r>
            <a:br>
              <a:rPr lang="ru-RU" sz="2800" b="1" dirty="0"/>
            </a:br>
            <a:r>
              <a:rPr lang="ru-RU" sz="2800" b="1" dirty="0"/>
              <a:t/>
            </a:r>
            <a:br>
              <a:rPr lang="ru-RU" sz="2800" b="1" dirty="0"/>
            </a:br>
            <a:endParaRPr lang="ru-RU" sz="2800" b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8" y="96185"/>
            <a:ext cx="5220372" cy="3696174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6466" y="1495765"/>
            <a:ext cx="2477613" cy="3978137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6" name="TextBox 5"/>
          <p:cNvSpPr txBox="1"/>
          <p:nvPr/>
        </p:nvSpPr>
        <p:spPr>
          <a:xfrm>
            <a:off x="1116330" y="4067489"/>
            <a:ext cx="563006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Вакцинация от гриппа мобильной бригадой</a:t>
            </a:r>
          </a:p>
          <a:p>
            <a:r>
              <a:rPr lang="ru-RU" b="1" dirty="0"/>
              <a:t>у станции м. «</a:t>
            </a:r>
            <a:r>
              <a:rPr lang="ru-RU" b="1" dirty="0" err="1"/>
              <a:t>Некрасовка</a:t>
            </a:r>
            <a:r>
              <a:rPr lang="ru-RU" b="1" dirty="0" smtClean="0"/>
              <a:t>»  </a:t>
            </a:r>
          </a:p>
          <a:p>
            <a:r>
              <a:rPr lang="ru-RU" b="1" dirty="0" smtClean="0"/>
              <a:t>Вакцинировано </a:t>
            </a:r>
            <a:r>
              <a:rPr lang="ru-RU" b="1" dirty="0"/>
              <a:t>– 9528 </a:t>
            </a:r>
            <a:r>
              <a:rPr lang="ru-RU" b="1" dirty="0" smtClean="0"/>
              <a:t>человек; </a:t>
            </a:r>
          </a:p>
          <a:p>
            <a:endParaRPr lang="ru-RU" b="1" dirty="0" smtClean="0"/>
          </a:p>
          <a:p>
            <a:r>
              <a:rPr lang="ru-RU" b="1" dirty="0" smtClean="0"/>
              <a:t>Вакцинация </a:t>
            </a:r>
            <a:r>
              <a:rPr lang="ru-RU" b="1" dirty="0"/>
              <a:t>маломобильных пациентов на дому</a:t>
            </a:r>
          </a:p>
          <a:p>
            <a:r>
              <a:rPr lang="ru-RU" b="1" dirty="0" smtClean="0"/>
              <a:t>- грипп </a:t>
            </a:r>
            <a:r>
              <a:rPr lang="ru-RU" b="1" dirty="0"/>
              <a:t>– </a:t>
            </a:r>
            <a:r>
              <a:rPr lang="ru-RU" b="1" dirty="0" smtClean="0"/>
              <a:t>1196;</a:t>
            </a:r>
            <a:endParaRPr lang="ru-RU" b="1" dirty="0"/>
          </a:p>
          <a:p>
            <a:r>
              <a:rPr lang="ru-RU" b="1" dirty="0" smtClean="0"/>
              <a:t>- </a:t>
            </a:r>
            <a:r>
              <a:rPr lang="ru-RU" b="1" dirty="0" err="1" smtClean="0"/>
              <a:t>пневмо</a:t>
            </a:r>
            <a:r>
              <a:rPr lang="ru-RU" b="1" dirty="0" smtClean="0"/>
              <a:t> </a:t>
            </a:r>
            <a:r>
              <a:rPr lang="ru-RU" b="1" dirty="0"/>
              <a:t>– </a:t>
            </a:r>
            <a:r>
              <a:rPr lang="ru-RU" b="1" dirty="0" smtClean="0"/>
              <a:t>403;</a:t>
            </a:r>
          </a:p>
          <a:p>
            <a:r>
              <a:rPr lang="ru-RU" b="1" dirty="0"/>
              <a:t>-</a:t>
            </a:r>
            <a:r>
              <a:rPr lang="ru-RU" b="1" dirty="0" smtClean="0"/>
              <a:t> АКДС – 70;</a:t>
            </a:r>
          </a:p>
          <a:p>
            <a:r>
              <a:rPr lang="ru-RU" b="1" dirty="0" smtClean="0"/>
              <a:t>- корь – 40.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71642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95072" y="93567"/>
            <a:ext cx="6977128" cy="43698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dirty="0"/>
              <a:t>Школы для пациентов</a:t>
            </a: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509502" y="681389"/>
            <a:ext cx="5912586" cy="2533076"/>
          </a:xfrm>
        </p:spPr>
        <p:txBody>
          <a:bodyPr/>
          <a:lstStyle/>
          <a:p>
            <a:pPr marL="0" indent="0" algn="just">
              <a:buNone/>
            </a:pPr>
            <a:r>
              <a:rPr lang="ru-RU" dirty="0"/>
              <a:t>В 2023 г. возобновились занятия в школах для пациентов.</a:t>
            </a:r>
          </a:p>
          <a:p>
            <a:r>
              <a:rPr lang="ru-RU" dirty="0"/>
              <a:t>Школа сахарного </a:t>
            </a:r>
            <a:r>
              <a:rPr lang="ru-RU" dirty="0" smtClean="0"/>
              <a:t>диабета: проведено </a:t>
            </a:r>
            <a:r>
              <a:rPr lang="ru-RU" dirty="0"/>
              <a:t>10 </a:t>
            </a:r>
            <a:r>
              <a:rPr lang="ru-RU" dirty="0" smtClean="0"/>
              <a:t>занятий, </a:t>
            </a:r>
            <a:r>
              <a:rPr lang="ru-RU" dirty="0"/>
              <a:t>о</a:t>
            </a:r>
            <a:r>
              <a:rPr lang="ru-RU" dirty="0" smtClean="0"/>
              <a:t>бучено </a:t>
            </a:r>
            <a:r>
              <a:rPr lang="ru-RU" dirty="0"/>
              <a:t>73 </a:t>
            </a:r>
            <a:r>
              <a:rPr lang="ru-RU" dirty="0" smtClean="0"/>
              <a:t>пациента.</a:t>
            </a:r>
            <a:endParaRPr lang="ru-RU" dirty="0"/>
          </a:p>
          <a:p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2" y="77944"/>
            <a:ext cx="2477239" cy="3302986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1" y="3556027"/>
            <a:ext cx="2477239" cy="319477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636" y="2579086"/>
            <a:ext cx="2723204" cy="363093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9" name="Прямоугольник 8"/>
          <p:cNvSpPr/>
          <p:nvPr/>
        </p:nvSpPr>
        <p:spPr>
          <a:xfrm>
            <a:off x="2934557" y="6381473"/>
            <a:ext cx="3177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роведение школы диабета</a:t>
            </a:r>
          </a:p>
        </p:txBody>
      </p:sp>
    </p:spTree>
    <p:extLst>
      <p:ext uri="{BB962C8B-B14F-4D97-AF65-F5344CB8AC3E}">
        <p14:creationId xmlns:p14="http://schemas.microsoft.com/office/powerpoint/2010/main" val="173418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1219" y="207636"/>
            <a:ext cx="7085160" cy="127846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/>
              <a:t>Проведение школ и акций отделением </a:t>
            </a:r>
            <a:br>
              <a:rPr lang="ru-RU" sz="2800" b="1" dirty="0"/>
            </a:br>
            <a:r>
              <a:rPr lang="ru-RU" sz="2800" b="1" dirty="0"/>
              <a:t>медицинской профилактики</a:t>
            </a:r>
            <a:br>
              <a:rPr lang="ru-RU" sz="2800" b="1" dirty="0"/>
            </a:br>
            <a:endParaRPr lang="ru-RU" sz="2800" b="1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664377" y="2040389"/>
            <a:ext cx="6044981" cy="2372952"/>
          </a:xfrm>
        </p:spPr>
        <p:txBody>
          <a:bodyPr/>
          <a:lstStyle/>
          <a:p>
            <a:pPr algn="just"/>
            <a:r>
              <a:rPr lang="ru-RU" dirty="0"/>
              <a:t>Отделением профилактики организовано участие в  18 международных и всероссийских акциях, в которых приняло участие 404 человека</a:t>
            </a:r>
          </a:p>
          <a:p>
            <a:r>
              <a:rPr lang="ru-RU" dirty="0"/>
              <a:t>Проведено 12 занятий в школе профилактики инфаркта и </a:t>
            </a:r>
            <a:r>
              <a:rPr lang="ru-RU" dirty="0" smtClean="0"/>
              <a:t>инсульта: обучение </a:t>
            </a:r>
            <a:r>
              <a:rPr lang="ru-RU" dirty="0"/>
              <a:t>прошли 133 </a:t>
            </a:r>
            <a:r>
              <a:rPr lang="ru-RU" dirty="0" smtClean="0"/>
              <a:t>пациента.</a:t>
            </a:r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97093"/>
            <a:ext cx="3402227" cy="255167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6387"/>
            <a:ext cx="3402227" cy="255167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1333" y="6432924"/>
            <a:ext cx="6761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Проведение школы профилактики инфарктов и инсульт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77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1006" y="123181"/>
            <a:ext cx="11869270" cy="892851"/>
          </a:xfrm>
        </p:spPr>
        <p:txBody>
          <a:bodyPr>
            <a:normAutofit fontScale="90000"/>
          </a:bodyPr>
          <a:lstStyle/>
          <a:p>
            <a:pPr lvl="0"/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b="1" dirty="0"/>
              <a:t/>
            </a:r>
            <a:br>
              <a:rPr lang="ru-RU" sz="2800" b="1" dirty="0"/>
            </a:br>
            <a:endParaRPr lang="ru-RU" sz="2800" b="1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86510" y="578862"/>
            <a:ext cx="2533090" cy="12039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Тренировки долголетия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4313984" y="932389"/>
            <a:ext cx="720080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право 5"/>
          <p:cNvSpPr/>
          <p:nvPr/>
        </p:nvSpPr>
        <p:spPr>
          <a:xfrm>
            <a:off x="4313984" y="1347957"/>
            <a:ext cx="720080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130598" y="811491"/>
            <a:ext cx="2824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Головное учрежден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28448" y="1307255"/>
            <a:ext cx="1380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илиал 1</a:t>
            </a:r>
          </a:p>
        </p:txBody>
      </p:sp>
      <p:sp>
        <p:nvSpPr>
          <p:cNvPr id="9" name="Горизонтальный свиток 8"/>
          <p:cNvSpPr/>
          <p:nvPr/>
        </p:nvSpPr>
        <p:spPr>
          <a:xfrm>
            <a:off x="7661686" y="430274"/>
            <a:ext cx="3204883" cy="1474798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Количество постоянно занимающихся 264 человек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479177" y="1934150"/>
            <a:ext cx="2540424" cy="11927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кандинавская ходьба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4313984" y="2461251"/>
            <a:ext cx="720080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5417875" y="2382999"/>
            <a:ext cx="1493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илиал 1</a:t>
            </a:r>
          </a:p>
        </p:txBody>
      </p:sp>
      <p:sp>
        <p:nvSpPr>
          <p:cNvPr id="13" name="Горизонтальный свиток 12"/>
          <p:cNvSpPr/>
          <p:nvPr/>
        </p:nvSpPr>
        <p:spPr>
          <a:xfrm>
            <a:off x="7630310" y="1755757"/>
            <a:ext cx="3236259" cy="1410987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Количество постоянно занимающихся 160 </a:t>
            </a:r>
            <a:r>
              <a:rPr lang="ru-RU" dirty="0" smtClean="0"/>
              <a:t>чел</a:t>
            </a:r>
            <a:endParaRPr lang="ru-RU" dirty="0"/>
          </a:p>
        </p:txBody>
      </p:sp>
      <p:pic>
        <p:nvPicPr>
          <p:cNvPr id="1026" name="Picture 2" descr="C:\Users\Сергей\Desktop\Фото ГП 23\30221287_661035174244399_4163052078492549120_n 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6001" y="3247086"/>
            <a:ext cx="5149044" cy="3450894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3" name="Прямоугольник 2"/>
          <p:cNvSpPr/>
          <p:nvPr/>
        </p:nvSpPr>
        <p:spPr>
          <a:xfrm>
            <a:off x="3396011" y="-87003"/>
            <a:ext cx="58681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Московское долголетие - совместный проект с ЦСО для москвичей старше 55 лет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054" name="Picture 6" descr="https://kartinki.pics/uploads/posts/2022-12/thumbs/1671757526_kartinkin-net-p-skandinavskaya-khodba-kartinki-instagram-4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831" y="3247086"/>
            <a:ext cx="5007248" cy="3450894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884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DAAC22D-0FEC-F04B-3B1E-2FDFFC56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084" y="95250"/>
            <a:ext cx="8596668" cy="506931"/>
          </a:xfrm>
        </p:spPr>
        <p:txBody>
          <a:bodyPr>
            <a:normAutofit/>
          </a:bodyPr>
          <a:lstStyle/>
          <a:p>
            <a:r>
              <a:rPr lang="ru-RU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Школы здоровья в центрах Московского долголетия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="" xmlns:a16="http://schemas.microsoft.com/office/drawing/2014/main" id="{47AFEB17-ABE2-0FF5-7B31-2E93A73B022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0187723"/>
              </p:ext>
            </p:extLst>
          </p:nvPr>
        </p:nvGraphicFramePr>
        <p:xfrm>
          <a:off x="4868460" y="745958"/>
          <a:ext cx="5224230" cy="2314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650">
                  <a:extLst>
                    <a:ext uri="{9D8B030D-6E8A-4147-A177-3AD203B41FA5}">
                      <a16:colId xmlns="" xmlns:a16="http://schemas.microsoft.com/office/drawing/2014/main" val="2241070488"/>
                    </a:ext>
                  </a:extLst>
                </a:gridCol>
                <a:gridCol w="2030892">
                  <a:extLst>
                    <a:ext uri="{9D8B030D-6E8A-4147-A177-3AD203B41FA5}">
                      <a16:colId xmlns="" xmlns:a16="http://schemas.microsoft.com/office/drawing/2014/main" val="1992398616"/>
                    </a:ext>
                  </a:extLst>
                </a:gridCol>
                <a:gridCol w="1778688">
                  <a:extLst>
                    <a:ext uri="{9D8B030D-6E8A-4147-A177-3AD203B41FA5}">
                      <a16:colId xmlns="" xmlns:a16="http://schemas.microsoft.com/office/drawing/2014/main" val="2143851204"/>
                    </a:ext>
                  </a:extLst>
                </a:gridCol>
              </a:tblGrid>
              <a:tr h="64999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С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лекц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слушателе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69417223"/>
                  </a:ext>
                </a:extLst>
              </a:tr>
              <a:tr h="41622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улебино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053868705"/>
                  </a:ext>
                </a:extLst>
              </a:tr>
              <a:tr h="41622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красовка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782070259"/>
                  </a:ext>
                </a:extLst>
              </a:tr>
              <a:tr h="41622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язанский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256896923"/>
                  </a:ext>
                </a:extLst>
              </a:tr>
              <a:tr h="41622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382050631"/>
                  </a:ext>
                </a:extLst>
              </a:tr>
            </a:tbl>
          </a:graphicData>
        </a:graphic>
      </p:graphicFrame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F3E3DBC7-3FBD-0285-7B02-689D9353AA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3683" y="3460284"/>
            <a:ext cx="3338571" cy="250392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3C80548-2E90-D89E-D11A-050D95770F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5" y="3460284"/>
            <a:ext cx="3368675" cy="251340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38361CF-E87B-B3B7-A78C-4113AFE0388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5" y="711668"/>
            <a:ext cx="3368675" cy="2314876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3" name="AutoShape 2" descr="blob:https://web.whatsapp.com/a6a8328b-1c50-4941-ae4a-7025bf5f399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377" y="3460284"/>
            <a:ext cx="3330402" cy="249780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711540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69290"/>
            <a:ext cx="10515600" cy="531346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/>
              <a:t>ТМЦ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34942" y="1207168"/>
            <a:ext cx="7392053" cy="550022"/>
          </a:xfrm>
        </p:spPr>
        <p:txBody>
          <a:bodyPr>
            <a:normAutofit/>
          </a:bodyPr>
          <a:lstStyle/>
          <a:p>
            <a:r>
              <a:rPr lang="ru-RU" dirty="0"/>
              <a:t>Проведено ТМЦ консультаций в количестве 50987 за 2023 год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3853" y="2363722"/>
            <a:ext cx="2594919" cy="3459892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368" y="1784406"/>
            <a:ext cx="2446912" cy="3262549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7" name="Объект 2"/>
          <p:cNvSpPr txBox="1">
            <a:spLocks/>
          </p:cNvSpPr>
          <p:nvPr/>
        </p:nvSpPr>
        <p:spPr>
          <a:xfrm>
            <a:off x="3111843" y="2865658"/>
            <a:ext cx="10515600" cy="5500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/>
              <a:t>Дистанционное закрытие листков временной </a:t>
            </a:r>
          </a:p>
          <a:p>
            <a:pPr marL="0" indent="0">
              <a:buNone/>
            </a:pPr>
            <a:r>
              <a:rPr lang="ru-RU" sz="1400" dirty="0"/>
              <a:t>нетрудоспособности  - закрыто 29134 ЛН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96308" y="2040211"/>
            <a:ext cx="35557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рачами филиала 3 проведено</a:t>
            </a:r>
          </a:p>
          <a:p>
            <a:pPr algn="ctr"/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424 телемедицинских консультации</a:t>
            </a:r>
          </a:p>
        </p:txBody>
      </p:sp>
    </p:spTree>
    <p:extLst>
      <p:ext uri="{BB962C8B-B14F-4D97-AF65-F5344CB8AC3E}">
        <p14:creationId xmlns:p14="http://schemas.microsoft.com/office/powerpoint/2010/main" val="379370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9271" y="365126"/>
            <a:ext cx="10914529" cy="58513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/>
              <a:t>Единое окно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7518" y="1054661"/>
            <a:ext cx="10515600" cy="4351338"/>
          </a:xfrm>
        </p:spPr>
        <p:txBody>
          <a:bodyPr>
            <a:normAutofit/>
          </a:bodyPr>
          <a:lstStyle/>
          <a:p>
            <a:r>
              <a:rPr lang="ru-RU" dirty="0"/>
              <a:t>С 01 марта 2022 г. поликлиника была включена в список учреждений, оказывающих платные услуги по медицинскому освидетельствованию водителей транспортных средств и граждан на наличие медицинских противопоказаний на владение оружием по принципу «единого окна». </a:t>
            </a:r>
          </a:p>
          <a:p>
            <a:r>
              <a:rPr lang="ru-RU" dirty="0"/>
              <a:t>Медицинское заключение на наличие медицинских противопоказаний к владению оружием оформляется в электронном виде через портал ЕМИАС. В 2023 году было сформировано и подписано электронной подписью ответственного врача 1 313 заключений. </a:t>
            </a:r>
          </a:p>
          <a:p>
            <a:r>
              <a:rPr lang="ru-RU" dirty="0"/>
              <a:t>За 2023 г. выдано 4 490 медицинское освидетельствование водителей транспортных средств (кандидатов в водители транспортных средств)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0353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02870"/>
            <a:ext cx="12192001" cy="795867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/>
              <a:t>Кадровый состав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6899547"/>
              </p:ext>
            </p:extLst>
          </p:nvPr>
        </p:nvGraphicFramePr>
        <p:xfrm>
          <a:off x="298984" y="481631"/>
          <a:ext cx="11736806" cy="2764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62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54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00876">
                  <a:extLst>
                    <a:ext uri="{9D8B030D-6E8A-4147-A177-3AD203B41FA5}">
                      <a16:colId xmlns="" xmlns:a16="http://schemas.microsoft.com/office/drawing/2014/main" val="2939837578"/>
                    </a:ext>
                  </a:extLst>
                </a:gridCol>
                <a:gridCol w="1517994">
                  <a:extLst>
                    <a:ext uri="{9D8B030D-6E8A-4147-A177-3AD203B41FA5}">
                      <a16:colId xmlns="" xmlns:a16="http://schemas.microsoft.com/office/drawing/2014/main" val="1865322041"/>
                    </a:ext>
                  </a:extLst>
                </a:gridCol>
                <a:gridCol w="12573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68730">
                  <a:extLst>
                    <a:ext uri="{9D8B030D-6E8A-4147-A177-3AD203B41FA5}">
                      <a16:colId xmlns="" xmlns:a16="http://schemas.microsoft.com/office/drawing/2014/main" val="3401339163"/>
                    </a:ext>
                  </a:extLst>
                </a:gridCol>
                <a:gridCol w="1520190">
                  <a:extLst>
                    <a:ext uri="{9D8B030D-6E8A-4147-A177-3AD203B41FA5}">
                      <a16:colId xmlns="" xmlns:a16="http://schemas.microsoft.com/office/drawing/2014/main" val="2424055254"/>
                    </a:ext>
                  </a:extLst>
                </a:gridCol>
              </a:tblGrid>
              <a:tr h="295609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Кадровый состав по АПЦ</a:t>
                      </a:r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2</a:t>
                      </a:r>
                      <a:r>
                        <a:rPr lang="ru-RU" sz="1800" baseline="0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 г.</a:t>
                      </a:r>
                      <a:endParaRPr lang="ru-RU" sz="180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3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895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оличество сотрудников</a:t>
                      </a:r>
                    </a:p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тавок по штат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Кол-во сотрудник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комплектованность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тавок по штат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/>
                        <a:t>Кол-во сотрудников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Укомплектованность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9565">
                <a:tc>
                  <a:txBody>
                    <a:bodyPr/>
                    <a:lstStyle/>
                    <a:p>
                      <a:r>
                        <a:rPr lang="ru-RU" dirty="0"/>
                        <a:t>Врач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444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7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1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43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7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4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9307114"/>
                  </a:ext>
                </a:extLst>
              </a:tr>
              <a:tr h="439565">
                <a:tc>
                  <a:txBody>
                    <a:bodyPr/>
                    <a:lstStyle/>
                    <a:p>
                      <a:r>
                        <a:rPr lang="ru-RU" dirty="0"/>
                        <a:t>Средний медперсона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522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9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8,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453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7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0,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38396171"/>
                  </a:ext>
                </a:extLst>
              </a:tr>
              <a:tr h="439565">
                <a:tc>
                  <a:txBody>
                    <a:bodyPr/>
                    <a:lstStyle/>
                    <a:p>
                      <a:r>
                        <a:rPr lang="ru-RU" dirty="0"/>
                        <a:t>Итого медицинский персона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67,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6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4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87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6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2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67822928"/>
                  </a:ext>
                </a:extLst>
              </a:tr>
              <a:tr h="439565">
                <a:tc>
                  <a:txBody>
                    <a:bodyPr/>
                    <a:lstStyle/>
                    <a:p>
                      <a:r>
                        <a:rPr lang="ru-RU" dirty="0"/>
                        <a:t>Прочий персона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43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1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34,5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2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374214"/>
              </p:ext>
            </p:extLst>
          </p:nvPr>
        </p:nvGraphicFramePr>
        <p:xfrm>
          <a:off x="195762" y="3444950"/>
          <a:ext cx="6365058" cy="25329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77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473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89683">
                <a:tc>
                  <a:txBody>
                    <a:bodyPr/>
                    <a:lstStyle/>
                    <a:p>
                      <a:r>
                        <a:rPr lang="ru-RU" sz="1800" dirty="0"/>
                        <a:t>Стату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Количеств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9683">
                <a:tc>
                  <a:txBody>
                    <a:bodyPr/>
                    <a:lstStyle/>
                    <a:p>
                      <a:r>
                        <a:rPr lang="ru-RU" baseline="0" dirty="0"/>
                        <a:t>Кандидат медицинских наук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  16 чел./ 14че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81945">
                <a:tc>
                  <a:txBody>
                    <a:bodyPr/>
                    <a:lstStyle/>
                    <a:p>
                      <a:r>
                        <a:rPr lang="ru-RU" dirty="0"/>
                        <a:t>Врачи высшей,</a:t>
                      </a:r>
                      <a:r>
                        <a:rPr lang="en-US" dirty="0"/>
                        <a:t> I</a:t>
                      </a:r>
                      <a:r>
                        <a:rPr lang="ru-RU" baseline="0" dirty="0"/>
                        <a:t> и</a:t>
                      </a:r>
                      <a:r>
                        <a:rPr lang="en-US" dirty="0"/>
                        <a:t> II</a:t>
                      </a:r>
                      <a:r>
                        <a:rPr lang="ru-RU" baseline="0" dirty="0"/>
                        <a:t> категорий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56 чел./ 25че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19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Средний мед. персонал высшей,</a:t>
                      </a:r>
                      <a:r>
                        <a:rPr lang="en-US" dirty="0"/>
                        <a:t> I</a:t>
                      </a:r>
                      <a:r>
                        <a:rPr lang="ru-RU" baseline="0" dirty="0"/>
                        <a:t> и</a:t>
                      </a:r>
                      <a:r>
                        <a:rPr lang="en-US" dirty="0"/>
                        <a:t> II</a:t>
                      </a:r>
                      <a:r>
                        <a:rPr lang="ru-RU" baseline="0" dirty="0"/>
                        <a:t> категорий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7 чел./ 30че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9683">
                <a:tc>
                  <a:txBody>
                    <a:bodyPr/>
                    <a:lstStyle/>
                    <a:p>
                      <a:r>
                        <a:rPr lang="ru-RU" dirty="0"/>
                        <a:t>Московский</a:t>
                      </a:r>
                      <a:r>
                        <a:rPr lang="ru-RU" baseline="0" dirty="0"/>
                        <a:t> врач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  4 чел./ 3че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861035"/>
              </p:ext>
            </p:extLst>
          </p:nvPr>
        </p:nvGraphicFramePr>
        <p:xfrm>
          <a:off x="6706870" y="3425190"/>
          <a:ext cx="5374640" cy="2552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610"/>
                <a:gridCol w="3669030"/>
              </a:tblGrid>
              <a:tr h="85090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Кадровый состав по филиалу № 3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тавок по штату/количество сотрудников/укомплектованность</a:t>
                      </a:r>
                      <a:endParaRPr lang="ru-RU" sz="1600" dirty="0"/>
                    </a:p>
                  </a:txBody>
                  <a:tcPr/>
                </a:tc>
              </a:tr>
              <a:tr h="378178">
                <a:tc>
                  <a:txBody>
                    <a:bodyPr/>
                    <a:lstStyle/>
                    <a:p>
                      <a:r>
                        <a:rPr lang="ru-RU" dirty="0" smtClean="0"/>
                        <a:t>Врачи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4,25/31/95%</a:t>
                      </a:r>
                      <a:endParaRPr lang="ru-RU" dirty="0"/>
                    </a:p>
                  </a:txBody>
                  <a:tcPr/>
                </a:tc>
              </a:tr>
              <a:tr h="661811">
                <a:tc>
                  <a:txBody>
                    <a:bodyPr/>
                    <a:lstStyle/>
                    <a:p>
                      <a:r>
                        <a:rPr lang="ru-RU" dirty="0" smtClean="0"/>
                        <a:t>Средний медперсона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7,25/34/96,5%</a:t>
                      </a:r>
                      <a:endParaRPr lang="ru-RU" dirty="0"/>
                    </a:p>
                  </a:txBody>
                  <a:tcPr/>
                </a:tc>
              </a:tr>
              <a:tr h="661811">
                <a:tc>
                  <a:txBody>
                    <a:bodyPr/>
                    <a:lstStyle/>
                    <a:p>
                      <a:r>
                        <a:rPr lang="ru-RU" dirty="0" smtClean="0"/>
                        <a:t>Прочий персона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,25/17/85%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54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810" y="5126412"/>
            <a:ext cx="6835140" cy="167830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270" y="247912"/>
            <a:ext cx="10358718" cy="51341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/>
              <a:t>Работа с персоналом. </a:t>
            </a:r>
            <a:r>
              <a:rPr lang="ru-RU" sz="2800" b="1" dirty="0" err="1"/>
              <a:t>Пациенториентированность</a:t>
            </a:r>
            <a:r>
              <a:rPr lang="ru-RU" sz="2800" b="1" dirty="0"/>
              <a:t>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5623" y="761328"/>
            <a:ext cx="10538012" cy="5498540"/>
          </a:xfrm>
          <a:noFill/>
        </p:spPr>
        <p:txBody>
          <a:bodyPr/>
          <a:lstStyle/>
          <a:p>
            <a:r>
              <a:rPr lang="ru-RU" dirty="0"/>
              <a:t>Непрерывное медицинское образование (НМО) – развитие профессиональных компетенций</a:t>
            </a:r>
          </a:p>
          <a:p>
            <a:pPr algn="just"/>
            <a:r>
              <a:rPr lang="ru-RU" dirty="0"/>
              <a:t>Обучение врачей общей практики в кадровом центре ДЗМ.  Все врачи общей практики (семейный врач) 77 человек по списку получили в 2023 г. дополнительное образование по специальностям: Урология, Неврология, Гастроэнтерология, </a:t>
            </a:r>
            <a:r>
              <a:rPr lang="ru-RU" dirty="0" err="1"/>
              <a:t>Дерматовенерология</a:t>
            </a:r>
            <a:r>
              <a:rPr lang="ru-RU" dirty="0"/>
              <a:t>, Офтальмология, Гематология, Инфекционные болезни, Эндокринология, Пульмонология, Кардиология, Нефрология. </a:t>
            </a:r>
            <a:endParaRPr lang="ru-RU" dirty="0" smtClean="0"/>
          </a:p>
          <a:p>
            <a:pPr algn="just"/>
            <a:r>
              <a:rPr lang="ru-RU" dirty="0" smtClean="0"/>
              <a:t>Так </a:t>
            </a:r>
            <a:r>
              <a:rPr lang="ru-RU" dirty="0"/>
              <a:t>же у 30% ВОП имеется действующий сертификат по Терапии.</a:t>
            </a:r>
          </a:p>
          <a:p>
            <a:r>
              <a:rPr lang="ru-RU" dirty="0"/>
              <a:t>Аккредитация в кадровом центре ДЗМ</a:t>
            </a:r>
          </a:p>
          <a:p>
            <a:r>
              <a:rPr lang="ru-RU" dirty="0"/>
              <a:t>Экипировка сотрудников </a:t>
            </a:r>
          </a:p>
          <a:p>
            <a:r>
              <a:rPr lang="ru-RU" dirty="0"/>
              <a:t>Работа по развитию в коллективе </a:t>
            </a:r>
            <a:r>
              <a:rPr lang="ru-RU" dirty="0" err="1"/>
              <a:t>пациенториентированности</a:t>
            </a:r>
            <a:r>
              <a:rPr lang="ru-RU" dirty="0"/>
              <a:t> и ценностей (анонимные анкетирования сотрудников, тренинги по профессиональному выгоранию и развитию ценностей, анонимные тестирования сотрудников, анализ результатов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86050" y="4757080"/>
            <a:ext cx="4446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ГЛАВНЫЕ ЦЕННОСТИ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00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AE3DAD9-4400-E1E6-7586-5DAD8A849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2522" y="399050"/>
            <a:ext cx="4298926" cy="526181"/>
          </a:xfrm>
        </p:spPr>
        <p:txBody>
          <a:bodyPr>
            <a:noAutofit/>
          </a:bodyPr>
          <a:lstStyle/>
          <a:p>
            <a:pPr algn="ctr"/>
            <a:r>
              <a:rPr lang="ru-RU" sz="2800" dirty="0"/>
              <a:t>Открытие </a:t>
            </a:r>
            <a:r>
              <a:rPr lang="ru-RU" sz="2800" dirty="0" smtClean="0"/>
              <a:t>филиала № 3 </a:t>
            </a: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/>
              <a:t>после капитального ремон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DC7BAF0F-BDAC-B832-2B83-498C53C26E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220" y="2566007"/>
            <a:ext cx="2086275" cy="2781700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4B8A0DFD-2B25-8556-92FB-F4EDA15AB7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447" y="47048"/>
            <a:ext cx="2902911" cy="2177183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FA19865C-2683-E584-FFA2-6A4EB9792A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885" y="2019107"/>
            <a:ext cx="2086275" cy="2781700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0B21796-F87B-8C55-C930-B319357BE3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68" y="137229"/>
            <a:ext cx="2374632" cy="3166176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D4FDCDB7-6DB4-8C4F-3A5E-6440C649B8C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73" y="4089249"/>
            <a:ext cx="3080429" cy="231032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B72BD6A-0009-809F-7AF0-5DDF06BF871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3643" y="4350129"/>
            <a:ext cx="2902911" cy="2177183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918970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6598"/>
            <a:ext cx="12039599" cy="672912"/>
          </a:xfrm>
        </p:spPr>
        <p:txBody>
          <a:bodyPr>
            <a:normAutofit fontScale="90000"/>
          </a:bodyPr>
          <a:lstStyle/>
          <a:p>
            <a:pPr lvl="0" algn="ctr"/>
            <a:r>
              <a:rPr lang="ru-RU" sz="2800" b="1" dirty="0"/>
              <a:t>Входная группа - создание</a:t>
            </a:r>
            <a:r>
              <a:rPr lang="ru-RU" sz="2800" b="1" dirty="0">
                <a:latin typeface="Georgia" pitchFamily="18" charset="0"/>
              </a:rPr>
              <a:t> </a:t>
            </a:r>
            <a:r>
              <a:rPr lang="ru-RU" sz="2800" b="1" dirty="0"/>
              <a:t>позитивного имиджа поликлиники.</a:t>
            </a:r>
            <a:br>
              <a:rPr lang="ru-RU" sz="2800" b="1" dirty="0"/>
            </a:br>
            <a:r>
              <a:rPr lang="ru-RU" sz="2800" b="1" dirty="0"/>
              <a:t>Работа МФЦ на входной группе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7" r="36219"/>
          <a:stretch/>
        </p:blipFill>
        <p:spPr>
          <a:xfrm>
            <a:off x="3734171" y="2211765"/>
            <a:ext cx="3630590" cy="4522911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3231" y="934555"/>
            <a:ext cx="3326130" cy="442502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9" y="934555"/>
            <a:ext cx="3568907" cy="4758543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31904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5429" y="156302"/>
            <a:ext cx="10972800" cy="4948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/>
              <a:t>Образовательная деятельность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96117" y="703660"/>
            <a:ext cx="6687030" cy="2672454"/>
          </a:xfrm>
        </p:spPr>
        <p:txBody>
          <a:bodyPr/>
          <a:lstStyle/>
          <a:p>
            <a:r>
              <a:rPr lang="ru-RU" dirty="0"/>
              <a:t>ГБУЗ «ГП № 23 ДЗМ» является базой для проведения практической подготовки обучающихся </a:t>
            </a:r>
            <a:r>
              <a:rPr lang="ru-RU" dirty="0" smtClean="0"/>
              <a:t>ГБПОУ </a:t>
            </a:r>
            <a:r>
              <a:rPr lang="ru-RU" dirty="0"/>
              <a:t>ДЗМ «Медицинского колледжа № 6», а также 1-го московского университета им. И.М. Сеченова.</a:t>
            </a:r>
          </a:p>
          <a:p>
            <a:r>
              <a:rPr lang="ru-RU" dirty="0" smtClean="0"/>
              <a:t>За </a:t>
            </a:r>
            <a:r>
              <a:rPr lang="ru-RU" dirty="0"/>
              <a:t>2023 г. прошли практическую подготовку 337 человек</a:t>
            </a:r>
            <a:endParaRPr lang="ru-RU" dirty="0">
              <a:highlight>
                <a:srgbClr val="FFFF00"/>
              </a:highlight>
            </a:endParaRPr>
          </a:p>
          <a:p>
            <a:endParaRPr lang="ru-RU" dirty="0"/>
          </a:p>
          <a:p>
            <a:pPr marL="0" indent="0">
              <a:buNone/>
            </a:pPr>
            <a:endParaRPr lang="ru-RU" dirty="0"/>
          </a:p>
          <a:p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E272C85D-EFAC-EA1E-AF9D-8ABD43BE0C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41" y="156302"/>
            <a:ext cx="2464976" cy="3286635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542" y="4742330"/>
            <a:ext cx="3809260" cy="2017059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801" y="2312208"/>
            <a:ext cx="3393001" cy="2194636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48" y="2368399"/>
            <a:ext cx="3456171" cy="2593749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17" y="4350189"/>
            <a:ext cx="4142553" cy="2433588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79188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2219" y="312187"/>
            <a:ext cx="10609729" cy="504451"/>
          </a:xfrm>
        </p:spPr>
        <p:txBody>
          <a:bodyPr>
            <a:noAutofit/>
          </a:bodyPr>
          <a:lstStyle/>
          <a:p>
            <a:pPr algn="ctr"/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</a:rPr>
              <a:t>Участие в п</a:t>
            </a:r>
            <a:r>
              <a:rPr lang="ru-RU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роекте предпрофессионального образования </a:t>
            </a:r>
            <a:br>
              <a:rPr lang="ru-RU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ru-RU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Медицинский класс в Московской школе»</a:t>
            </a:r>
            <a:endParaRPr lang="ru-RU" sz="2000" b="1" dirty="0"/>
          </a:p>
        </p:txBody>
      </p:sp>
      <p:pic>
        <p:nvPicPr>
          <p:cNvPr id="13" name="Объект 12">
            <a:extLst>
              <a:ext uri="{FF2B5EF4-FFF2-40B4-BE49-F238E27FC236}">
                <a16:creationId xmlns="" xmlns:a16="http://schemas.microsoft.com/office/drawing/2014/main" id="{AD403A1F-B572-9F36-BB7C-FD045278F4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41" y="229499"/>
            <a:ext cx="2377099" cy="3169467"/>
          </a:xfr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52C305A9-C96A-E955-3A15-3870D8E285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26" y="3546504"/>
            <a:ext cx="2259919" cy="3013224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D75987C-1426-82CE-EDBC-A1530C8885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267" y="2874577"/>
            <a:ext cx="2249099" cy="2998799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7CC80759-7748-DA84-C436-1CC3E5FB0B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523" y="3347103"/>
            <a:ext cx="2168201" cy="2890935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187F0CD3-CD54-C38E-CD8E-748477765C7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498" y="2021629"/>
            <a:ext cx="2273616" cy="3031487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A58BCCEA-6BEC-C03F-488C-A7C09CC8434A}"/>
              </a:ext>
            </a:extLst>
          </p:cNvPr>
          <p:cNvSpPr txBox="1"/>
          <p:nvPr/>
        </p:nvSpPr>
        <p:spPr>
          <a:xfrm>
            <a:off x="4600856" y="1044181"/>
            <a:ext cx="439553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курсии для медицинских классов проводились</a:t>
            </a:r>
          </a:p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Головном учреждении: </a:t>
            </a:r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 групп – 67 участников</a:t>
            </a:r>
          </a:p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Филиале 4:</a:t>
            </a:r>
          </a:p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8 групп – 89 участников</a:t>
            </a:r>
          </a:p>
        </p:txBody>
      </p:sp>
    </p:spTree>
    <p:extLst>
      <p:ext uri="{BB962C8B-B14F-4D97-AF65-F5344CB8AC3E}">
        <p14:creationId xmlns:p14="http://schemas.microsoft.com/office/powerpoint/2010/main" val="3180560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630" y="118110"/>
            <a:ext cx="8691072" cy="1036320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/>
              <a:t>В 2023 г. стартовала Программа </a:t>
            </a:r>
            <a:r>
              <a:rPr lang="ru-RU" sz="2400" dirty="0" err="1" smtClean="0"/>
              <a:t>проактивного</a:t>
            </a:r>
            <a:r>
              <a:rPr lang="ru-RU" sz="2400" dirty="0" smtClean="0"/>
              <a:t> диспансерного наблюдения</a:t>
            </a:r>
            <a:endParaRPr lang="ru-RU" sz="24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2890" y="1051560"/>
            <a:ext cx="9784080" cy="5440680"/>
          </a:xfrm>
        </p:spPr>
        <p:txBody>
          <a:bodyPr>
            <a:noAutofit/>
          </a:bodyPr>
          <a:lstStyle/>
          <a:p>
            <a:r>
              <a:rPr lang="ru-RU" sz="1200" b="1" u="sng" dirty="0" err="1"/>
              <a:t>Проактивное</a:t>
            </a:r>
            <a:r>
              <a:rPr lang="ru-RU" sz="1200" b="1" u="sng" dirty="0"/>
              <a:t> диспансерное динамическое наблюдение</a:t>
            </a:r>
            <a:r>
              <a:rPr lang="ru-RU" sz="1200" dirty="0"/>
              <a:t> - </a:t>
            </a:r>
            <a:r>
              <a:rPr lang="ru-RU" sz="1200" b="1" dirty="0">
                <a:solidFill>
                  <a:srgbClr val="FF0000"/>
                </a:solidFill>
              </a:rPr>
              <a:t>постоянное наблюдение пациентов, имеющих определенные заболевания и состояния, с использованием специального программного продукта</a:t>
            </a:r>
            <a:r>
              <a:rPr lang="ru-RU" sz="1200" dirty="0"/>
              <a:t> и активным телемедицинским мониторингом состояния пациента для оперативного реагирования на обострение заболевания, развитие осложнений, иных состояний, в том числе в период между плановыми диспансерными приемами, с целью коррекции назначенной программы диспансерного динамического наблюдения или лекарственной терапии.  </a:t>
            </a:r>
            <a:endParaRPr lang="ru-RU" sz="1200" dirty="0" smtClean="0"/>
          </a:p>
          <a:p>
            <a:r>
              <a:rPr lang="ru-RU" sz="1200" b="1" u="sng" dirty="0"/>
              <a:t>Программа диспансерного наблюдения </a:t>
            </a:r>
            <a:r>
              <a:rPr lang="ru-RU" sz="1200" dirty="0"/>
              <a:t>(далее - ПДН) </a:t>
            </a:r>
            <a:r>
              <a:rPr lang="ru-RU" sz="1200" dirty="0">
                <a:solidFill>
                  <a:srgbClr val="FF0000"/>
                </a:solidFill>
              </a:rPr>
              <a:t>- разработанный врачом с использованием специального программного продукта и сформированный в Единой медицинской информационно - аналитической системы города Москвы (далее - ЕМИАС) план обследования, динамического наблюдения и лечения пациента</a:t>
            </a:r>
            <a:r>
              <a:rPr lang="ru-RU" sz="1200" dirty="0"/>
              <a:t>, имеющего определенные заболевания и состояния, который включает в себя обязательные и дополнительные (по медицинским показаниям) лабораторные и инструментальные исследования, консультации врачей-специалистов с указанием сроков проведения, базисную лекарственную терапию, показатели самоконтроля (ведение дневников наблюдения), общие рекомендации и месяц контрольных явок. </a:t>
            </a:r>
          </a:p>
          <a:p>
            <a:r>
              <a:rPr lang="ru-RU" sz="1200" b="1" u="sng" dirty="0"/>
              <a:t>Перечень заболеваний, при наличии которых проводится </a:t>
            </a:r>
            <a:r>
              <a:rPr lang="ru-RU" sz="1200" b="1" u="sng" dirty="0" err="1"/>
              <a:t>проактивное</a:t>
            </a:r>
            <a:r>
              <a:rPr lang="ru-RU" sz="1200" b="1" u="sng" dirty="0"/>
              <a:t> диспансерное динамическое наблюдения пациентов: </a:t>
            </a:r>
          </a:p>
          <a:p>
            <a:r>
              <a:rPr lang="ru-RU" sz="1200" dirty="0"/>
              <a:t>Артериальная гипертензия </a:t>
            </a:r>
            <a:endParaRPr lang="ru-RU" sz="1200" dirty="0" smtClean="0"/>
          </a:p>
          <a:p>
            <a:r>
              <a:rPr lang="ru-RU" sz="1200" dirty="0" smtClean="0"/>
              <a:t>Ишемическая </a:t>
            </a:r>
            <a:r>
              <a:rPr lang="ru-RU" sz="1200" dirty="0"/>
              <a:t>болезнь сердца </a:t>
            </a:r>
          </a:p>
          <a:p>
            <a:r>
              <a:rPr lang="ru-RU" sz="1200" dirty="0" smtClean="0"/>
              <a:t>Инфаркта </a:t>
            </a:r>
            <a:r>
              <a:rPr lang="ru-RU" sz="1200" dirty="0"/>
              <a:t>миокарда </a:t>
            </a:r>
            <a:endParaRPr lang="ru-RU" sz="1200" dirty="0" smtClean="0"/>
          </a:p>
          <a:p>
            <a:r>
              <a:rPr lang="ru-RU" sz="1200" dirty="0" smtClean="0"/>
              <a:t>Фибрилляция и трепетание предсердий </a:t>
            </a:r>
          </a:p>
          <a:p>
            <a:r>
              <a:rPr lang="ru-RU" sz="1200" dirty="0" smtClean="0"/>
              <a:t>Хроническая </a:t>
            </a:r>
            <a:r>
              <a:rPr lang="ru-RU" sz="1200" dirty="0"/>
              <a:t>сердечная недостаточность </a:t>
            </a:r>
            <a:endParaRPr lang="ru-RU" sz="1200" dirty="0" smtClean="0"/>
          </a:p>
          <a:p>
            <a:r>
              <a:rPr lang="ru-RU" sz="1200" dirty="0" err="1" smtClean="0"/>
              <a:t>Гиперхолестеринемия</a:t>
            </a:r>
            <a:endParaRPr lang="ru-RU" sz="1200" dirty="0"/>
          </a:p>
          <a:p>
            <a:r>
              <a:rPr lang="ru-RU" sz="1200" dirty="0"/>
              <a:t>Сахарный диабет 2 </a:t>
            </a:r>
            <a:r>
              <a:rPr lang="ru-RU" sz="1200" dirty="0" smtClean="0"/>
              <a:t>типа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63510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8667" y="346709"/>
            <a:ext cx="9274002" cy="1310641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В 2023 г. стартовал проект по </a:t>
            </a:r>
            <a:r>
              <a:rPr lang="ru-RU" sz="2400" dirty="0"/>
              <a:t>новому стандарту </a:t>
            </a:r>
            <a:r>
              <a:rPr lang="ru-RU" sz="2400" dirty="0" err="1"/>
              <a:t>проактивного</a:t>
            </a:r>
            <a:r>
              <a:rPr lang="ru-RU" sz="2400" dirty="0"/>
              <a:t> диспансерного динамического наблюдения граждан, страдающих хронической сердечной недостаточностью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8667" y="1657351"/>
            <a:ext cx="8935335" cy="4384012"/>
          </a:xfrm>
        </p:spPr>
        <p:txBody>
          <a:bodyPr>
            <a:normAutofit fontScale="92500" lnSpcReduction="10000"/>
          </a:bodyPr>
          <a:lstStyle/>
          <a:p>
            <a:pPr fontAlgn="base" hangingPunct="0"/>
            <a:r>
              <a:rPr lang="ru-RU" dirty="0"/>
              <a:t>В рамках проведения пилотного проекта осуществляется:</a:t>
            </a:r>
          </a:p>
          <a:p>
            <a:pPr fontAlgn="base" hangingPunct="0"/>
            <a:r>
              <a:rPr lang="ru-RU" dirty="0" smtClean="0"/>
              <a:t>набор </a:t>
            </a:r>
            <a:r>
              <a:rPr lang="ru-RU" dirty="0"/>
              <a:t>пациентов, соответствующих критериям включения </a:t>
            </a:r>
            <a:br>
              <a:rPr lang="ru-RU" dirty="0"/>
            </a:br>
            <a:r>
              <a:rPr lang="ru-RU" dirty="0"/>
              <a:t>в пилотный </a:t>
            </a:r>
            <a:r>
              <a:rPr lang="ru-RU" dirty="0" smtClean="0"/>
              <a:t>проект; </a:t>
            </a:r>
            <a:endParaRPr lang="ru-RU" dirty="0"/>
          </a:p>
          <a:p>
            <a:pPr fontAlgn="base" hangingPunct="0"/>
            <a:r>
              <a:rPr lang="ru-RU" dirty="0" smtClean="0"/>
              <a:t>динамическое </a:t>
            </a:r>
            <a:r>
              <a:rPr lang="ru-RU" dirty="0"/>
              <a:t>наблюдение состояния пациента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br>
              <a:rPr lang="ru-RU" dirty="0"/>
            </a:br>
            <a:r>
              <a:rPr lang="ru-RU" dirty="0"/>
              <a:t>с </a:t>
            </a:r>
            <a:r>
              <a:rPr lang="ru-RU" dirty="0" smtClean="0"/>
              <a:t>требованиями;</a:t>
            </a:r>
            <a:endParaRPr lang="ru-RU" dirty="0"/>
          </a:p>
          <a:p>
            <a:pPr fontAlgn="base" hangingPunct="0"/>
            <a:r>
              <a:rPr lang="ru-RU" smtClean="0"/>
              <a:t>оценка </a:t>
            </a:r>
            <a:r>
              <a:rPr lang="ru-RU" dirty="0"/>
              <a:t>состояния пациентов по итогам </a:t>
            </a:r>
            <a:r>
              <a:rPr lang="ru-RU" dirty="0" smtClean="0"/>
              <a:t>наблюдения.</a:t>
            </a:r>
            <a:endParaRPr lang="ru-RU" dirty="0"/>
          </a:p>
          <a:p>
            <a:pPr fontAlgn="base" hangingPunct="0"/>
            <a:r>
              <a:rPr lang="ru-RU" b="1" u="sng" dirty="0" smtClean="0"/>
              <a:t>Целью </a:t>
            </a:r>
            <a:r>
              <a:rPr lang="ru-RU" b="1" u="sng" dirty="0"/>
              <a:t>пилотного проекта </a:t>
            </a:r>
            <a:r>
              <a:rPr lang="ru-RU" dirty="0"/>
              <a:t>является </a:t>
            </a:r>
            <a:r>
              <a:rPr lang="ru-RU" dirty="0">
                <a:solidFill>
                  <a:srgbClr val="FF0000"/>
                </a:solidFill>
              </a:rPr>
              <a:t>совершенствование организации оказания медицинской помощи гражданам</a:t>
            </a:r>
            <a:r>
              <a:rPr lang="ru-RU" dirty="0"/>
              <a:t>, страдающим хронической сердечной недостаточностью, профилактика развития </a:t>
            </a:r>
            <a:br>
              <a:rPr lang="ru-RU" dirty="0"/>
            </a:br>
            <a:r>
              <a:rPr lang="ru-RU" dirty="0"/>
              <a:t>этого заболевания, </a:t>
            </a:r>
            <a:r>
              <a:rPr lang="ru-RU" dirty="0">
                <a:solidFill>
                  <a:srgbClr val="FF0000"/>
                </a:solidFill>
              </a:rPr>
              <a:t>снижение риска его прогрессирования</a:t>
            </a:r>
            <a:r>
              <a:rPr lang="ru-RU" dirty="0"/>
              <a:t>, а также </a:t>
            </a:r>
            <a:br>
              <a:rPr lang="ru-RU" dirty="0"/>
            </a:br>
            <a:r>
              <a:rPr lang="ru-RU" dirty="0">
                <a:solidFill>
                  <a:srgbClr val="FF0000"/>
                </a:solidFill>
              </a:rPr>
              <a:t>оценка эффективности назначенной в период участия в пилотном проекте </a:t>
            </a:r>
            <a:r>
              <a:rPr lang="ru-RU" dirty="0" err="1">
                <a:solidFill>
                  <a:srgbClr val="FF0000"/>
                </a:solidFill>
              </a:rPr>
              <a:t>квадротерапии</a:t>
            </a:r>
            <a:r>
              <a:rPr lang="ru-RU" dirty="0"/>
              <a:t>, предусматривающей назначение 4 групп лекарственных препаратов, включенных в приложение 4 к настоящему приказу, по рецептам на лекарственные препараты из разных </a:t>
            </a:r>
            <a:r>
              <a:rPr lang="ru-RU" dirty="0" err="1"/>
              <a:t>фармако</a:t>
            </a:r>
            <a:r>
              <a:rPr lang="ru-RU" dirty="0"/>
              <a:t>-терапевтических групп лекарственных препаратов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281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078" y="2424271"/>
            <a:ext cx="11146662" cy="498598"/>
          </a:xfrm>
        </p:spPr>
        <p:txBody>
          <a:bodyPr/>
          <a:lstStyle/>
          <a:p>
            <a:pPr algn="ctr"/>
            <a:r>
              <a:rPr lang="ru-RU" sz="3600" b="1" dirty="0"/>
              <a:t>СПАСИБО ЗА ВНИМАНИЕ!</a:t>
            </a:r>
          </a:p>
        </p:txBody>
      </p:sp>
      <p:pic>
        <p:nvPicPr>
          <p:cNvPr id="3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009" y="3208715"/>
            <a:ext cx="4832741" cy="315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815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715" y="3423642"/>
            <a:ext cx="4543285" cy="340746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715" y="40341"/>
            <a:ext cx="4511068" cy="338330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374776" cy="683110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370" y="40341"/>
            <a:ext cx="4486416" cy="675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6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703" y="147252"/>
            <a:ext cx="3302343" cy="4403124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49" y="156520"/>
            <a:ext cx="3288442" cy="4384589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113" y="3787448"/>
            <a:ext cx="3915719" cy="2936789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1200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23" y="226883"/>
            <a:ext cx="2665456" cy="355394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2" r="17321"/>
          <a:stretch/>
        </p:blipFill>
        <p:spPr>
          <a:xfrm>
            <a:off x="7008237" y="1882825"/>
            <a:ext cx="3750173" cy="355394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53"/>
          <a:stretch/>
        </p:blipFill>
        <p:spPr>
          <a:xfrm>
            <a:off x="3162000" y="486512"/>
            <a:ext cx="3516716" cy="2792626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43" r="9326"/>
          <a:stretch/>
        </p:blipFill>
        <p:spPr>
          <a:xfrm>
            <a:off x="2079651" y="4083084"/>
            <a:ext cx="3823460" cy="267729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563671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95423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Прикрепленное население </a:t>
            </a:r>
            <a:br>
              <a:rPr lang="ru-RU" sz="3600" b="1" dirty="0"/>
            </a:br>
            <a:r>
              <a:rPr lang="ru-RU" b="1" dirty="0"/>
              <a:t>Филиал </a:t>
            </a:r>
            <a:r>
              <a:rPr lang="ru-RU" b="1" dirty="0" smtClean="0"/>
              <a:t>№ 3 </a:t>
            </a:r>
            <a:r>
              <a:rPr lang="ru-RU" b="1" dirty="0"/>
              <a:t>2023 год</a:t>
            </a:r>
            <a:br>
              <a:rPr lang="ru-RU" b="1" dirty="0"/>
            </a:br>
            <a:endParaRPr lang="ru-RU" sz="3600" b="1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0482088"/>
              </p:ext>
            </p:extLst>
          </p:nvPr>
        </p:nvGraphicFramePr>
        <p:xfrm>
          <a:off x="827314" y="1710212"/>
          <a:ext cx="9881414" cy="283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85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082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1232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0410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00821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Филиа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сего прикреплен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 том числе население трудоспособного возрас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тарше трудоспособного возрас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оля населения старше трудоспособного возраст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Филиал</a:t>
                      </a:r>
                      <a:r>
                        <a:rPr lang="ru-RU" baseline="0" dirty="0"/>
                        <a:t> 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8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1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14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Из них</a:t>
                      </a:r>
                      <a:r>
                        <a:rPr lang="ru-RU" baseline="0" dirty="0"/>
                        <a:t> р-н Рязански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5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3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01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Выхино-Жулебин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2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7538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7324" y="129540"/>
            <a:ext cx="8843856" cy="1320800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/>
              <a:t>Распределение населения прикрепленного к ГБУЗ «ГП№23 ДЗМ»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 </a:t>
            </a:r>
            <a:r>
              <a:rPr lang="ru-RU" dirty="0"/>
              <a:t>муниципалитетам ЮВАО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19798491"/>
              </p:ext>
            </p:extLst>
          </p:nvPr>
        </p:nvGraphicFramePr>
        <p:xfrm>
          <a:off x="969503" y="1720300"/>
          <a:ext cx="8471677" cy="456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6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1" cy="511968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Обременения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1284666" y="3931055"/>
            <a:ext cx="9622668" cy="452689"/>
            <a:chOff x="933716" y="3931055"/>
            <a:chExt cx="9622668" cy="452689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933716" y="3931056"/>
              <a:ext cx="2215166" cy="43643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 3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4702935" y="3947314"/>
              <a:ext cx="2215166" cy="436430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4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8341218" y="3931055"/>
              <a:ext cx="2215166" cy="43643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5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4666" y="972989"/>
            <a:ext cx="9622668" cy="545206"/>
            <a:chOff x="933716" y="972989"/>
            <a:chExt cx="9622668" cy="545206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933716" y="972989"/>
              <a:ext cx="2215166" cy="54520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ГЗ</a:t>
              </a: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4702935" y="972990"/>
              <a:ext cx="2155065" cy="545205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1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8341218" y="972990"/>
              <a:ext cx="2215166" cy="54520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2</a:t>
              </a:r>
            </a:p>
          </p:txBody>
        </p:sp>
      </p:grpSp>
      <p:sp>
        <p:nvSpPr>
          <p:cNvPr id="21" name="Скругленный прямоугольник 20"/>
          <p:cNvSpPr/>
          <p:nvPr/>
        </p:nvSpPr>
        <p:spPr>
          <a:xfrm>
            <a:off x="5023834" y="2519525"/>
            <a:ext cx="2215166" cy="76629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апитальный ремонт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1306286" y="5368815"/>
            <a:ext cx="9579428" cy="803670"/>
            <a:chOff x="976956" y="5368815"/>
            <a:chExt cx="9579428" cy="80367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976956" y="5406191"/>
              <a:ext cx="2215166" cy="76629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АП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4738887" y="5389209"/>
              <a:ext cx="2215166" cy="76629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ДГП № 143, АП, ДЦЛИ</a:t>
              </a: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341218" y="5368815"/>
              <a:ext cx="2215166" cy="78668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АП, ЖК, ПКБ, ПТБ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048943" y="1518195"/>
            <a:ext cx="8094115" cy="1010296"/>
            <a:chOff x="1697993" y="1518195"/>
            <a:chExt cx="8094115" cy="1010296"/>
          </a:xfrm>
        </p:grpSpPr>
        <p:sp>
          <p:nvSpPr>
            <p:cNvPr id="12" name="Стрелка вниз 11"/>
            <p:cNvSpPr/>
            <p:nvPr/>
          </p:nvSpPr>
          <p:spPr>
            <a:xfrm>
              <a:off x="1697993" y="1527161"/>
              <a:ext cx="682581" cy="992364"/>
            </a:xfrm>
            <a:prstGeom prst="downArrow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Стрелка вниз 34"/>
            <p:cNvSpPr/>
            <p:nvPr/>
          </p:nvSpPr>
          <p:spPr>
            <a:xfrm>
              <a:off x="5403760" y="1518195"/>
              <a:ext cx="682581" cy="1001330"/>
            </a:xfrm>
            <a:prstGeom prst="downArrow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трелка вниз 35"/>
            <p:cNvSpPr/>
            <p:nvPr/>
          </p:nvSpPr>
          <p:spPr>
            <a:xfrm>
              <a:off x="9109527" y="1527161"/>
              <a:ext cx="682581" cy="1001330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2032240" y="4367485"/>
            <a:ext cx="8127520" cy="1038706"/>
            <a:chOff x="1664588" y="4367485"/>
            <a:chExt cx="8127520" cy="1038706"/>
          </a:xfrm>
        </p:grpSpPr>
        <p:sp>
          <p:nvSpPr>
            <p:cNvPr id="37" name="Стрелка вниз 36"/>
            <p:cNvSpPr/>
            <p:nvPr/>
          </p:nvSpPr>
          <p:spPr>
            <a:xfrm>
              <a:off x="1664588" y="4367485"/>
              <a:ext cx="682581" cy="1038706"/>
            </a:xfrm>
            <a:prstGeom prst="downArrow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Стрелка вниз 37"/>
            <p:cNvSpPr/>
            <p:nvPr/>
          </p:nvSpPr>
          <p:spPr>
            <a:xfrm>
              <a:off x="5469223" y="4387879"/>
              <a:ext cx="682581" cy="1001330"/>
            </a:xfrm>
            <a:prstGeom prst="downArrow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трелка вниз 38"/>
            <p:cNvSpPr/>
            <p:nvPr/>
          </p:nvSpPr>
          <p:spPr>
            <a:xfrm>
              <a:off x="9109527" y="4367485"/>
              <a:ext cx="682581" cy="1001330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6" name="Скругленный прямоугольник 20">
            <a:extLst>
              <a:ext uri="{FF2B5EF4-FFF2-40B4-BE49-F238E27FC236}">
                <a16:creationId xmlns="" xmlns:a16="http://schemas.microsoft.com/office/drawing/2014/main" id="{D000B24F-ED49-0227-0848-426B1FAAF1DC}"/>
              </a:ext>
            </a:extLst>
          </p:cNvPr>
          <p:cNvSpPr/>
          <p:nvPr/>
        </p:nvSpPr>
        <p:spPr>
          <a:xfrm>
            <a:off x="1265947" y="2528489"/>
            <a:ext cx="2215166" cy="76629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апитальный ремонт</a:t>
            </a:r>
          </a:p>
        </p:txBody>
      </p:sp>
      <p:sp>
        <p:nvSpPr>
          <p:cNvPr id="17" name="Скругленный прямоугольник 22">
            <a:extLst>
              <a:ext uri="{FF2B5EF4-FFF2-40B4-BE49-F238E27FC236}">
                <a16:creationId xmlns="" xmlns:a16="http://schemas.microsoft.com/office/drawing/2014/main" id="{42CFF225-DF1E-EA53-91BB-D9E11A6A7549}"/>
              </a:ext>
            </a:extLst>
          </p:cNvPr>
          <p:cNvSpPr/>
          <p:nvPr/>
        </p:nvSpPr>
        <p:spPr>
          <a:xfrm>
            <a:off x="8670548" y="2557244"/>
            <a:ext cx="2215166" cy="76629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П</a:t>
            </a:r>
          </a:p>
        </p:txBody>
      </p:sp>
    </p:spTree>
    <p:extLst>
      <p:ext uri="{BB962C8B-B14F-4D97-AF65-F5344CB8AC3E}">
        <p14:creationId xmlns:p14="http://schemas.microsoft.com/office/powerpoint/2010/main" val="108919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Грань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5699</TotalTime>
  <Words>1837</Words>
  <Application>Microsoft Office PowerPoint</Application>
  <PresentationFormat>Широкоэкранный</PresentationFormat>
  <Paragraphs>560</Paragraphs>
  <Slides>3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3" baseType="lpstr">
      <vt:lpstr>Arial</vt:lpstr>
      <vt:lpstr>Calibri</vt:lpstr>
      <vt:lpstr>Georgia</vt:lpstr>
      <vt:lpstr>Times New Roman</vt:lpstr>
      <vt:lpstr>Trebuchet MS</vt:lpstr>
      <vt:lpstr>Wingdings 3</vt:lpstr>
      <vt:lpstr>Грань</vt:lpstr>
      <vt:lpstr>think-cell Slide</vt:lpstr>
      <vt:lpstr>Презентация PowerPoint</vt:lpstr>
      <vt:lpstr>Презентация PowerPoint</vt:lpstr>
      <vt:lpstr>Открытие филиала № 3  после капитального ремонта</vt:lpstr>
      <vt:lpstr>Презентация PowerPoint</vt:lpstr>
      <vt:lpstr>Презентация PowerPoint</vt:lpstr>
      <vt:lpstr>Презентация PowerPoint</vt:lpstr>
      <vt:lpstr>Прикрепленное население  Филиал № 3 2023 год </vt:lpstr>
      <vt:lpstr>Распределение населения прикрепленного к ГБУЗ «ГП№23 ДЗМ»  по муниципалитетам ЮВАО</vt:lpstr>
      <vt:lpstr>Обременения</vt:lpstr>
      <vt:lpstr>Оснащение оборудованием</vt:lpstr>
      <vt:lpstr>Рентгенологическое оборудование</vt:lpstr>
      <vt:lpstr>Флюорографическое оборудование</vt:lpstr>
      <vt:lpstr>Оборудование УЗИ диагностики</vt:lpstr>
      <vt:lpstr>Презентация PowerPoint</vt:lpstr>
      <vt:lpstr>ВЕТЕРАНЫ ВОВ и лица к ним приравненные</vt:lpstr>
      <vt:lpstr>Структура по группам инвалидности</vt:lpstr>
      <vt:lpstr>Анализ выполнения госзадания за 2023 г.</vt:lpstr>
      <vt:lpstr>Профилактическая работа ГБУЗ «ГП № 23 ДЗМ»</vt:lpstr>
      <vt:lpstr>Летний тест здоровья – проведение диспансеризации в павильоне в парке «Сквер у метро Некрасовка» В «Павильоне здоровья» </vt:lpstr>
      <vt:lpstr>Выполнение плана вакцинации в 2023 г.</vt:lpstr>
      <vt:lpstr>Вакцинация с участием  мобильных бригад  </vt:lpstr>
      <vt:lpstr>Школы для пациентов</vt:lpstr>
      <vt:lpstr>Проведение школ и акций отделением  медицинской профилактики </vt:lpstr>
      <vt:lpstr>    </vt:lpstr>
      <vt:lpstr>Школы здоровья в центрах Московского долголетия</vt:lpstr>
      <vt:lpstr>ТМЦ</vt:lpstr>
      <vt:lpstr>Единое окно</vt:lpstr>
      <vt:lpstr>Кадровый состав</vt:lpstr>
      <vt:lpstr>Работа с персоналом. Пациенториентированность.</vt:lpstr>
      <vt:lpstr>Входная группа - создание позитивного имиджа поликлиники. Работа МФЦ на входной группе.</vt:lpstr>
      <vt:lpstr>Образовательная деятельность</vt:lpstr>
      <vt:lpstr>Участие в проекте предпрофессионального образования  «Медицинский класс в Московской школе»</vt:lpstr>
      <vt:lpstr>В 2023 г. стартовала Программа проактивного диспансерного наблюдения</vt:lpstr>
      <vt:lpstr>В 2023 г. стартовал проект по новому стандарту проактивного диспансерного динамического наблюдения граждан, страдающих хронической сердечной недостаточностью</vt:lpstr>
      <vt:lpstr>СПАСИБО ЗА ВНИМАНИЕ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Adm</cp:lastModifiedBy>
  <cp:revision>798</cp:revision>
  <dcterms:created xsi:type="dcterms:W3CDTF">2020-11-20T06:39:51Z</dcterms:created>
  <dcterms:modified xsi:type="dcterms:W3CDTF">2024-01-11T17:36:18Z</dcterms:modified>
</cp:coreProperties>
</file>